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233" r:id="rId4"/>
    <p:sldMasterId id="2147484275" r:id="rId5"/>
  </p:sldMasterIdLst>
  <p:notesMasterIdLst>
    <p:notesMasterId r:id="rId19"/>
  </p:notesMasterIdLst>
  <p:handoutMasterIdLst>
    <p:handoutMasterId r:id="rId20"/>
  </p:handoutMasterIdLst>
  <p:sldIdLst>
    <p:sldId id="256" r:id="rId6"/>
    <p:sldId id="257" r:id="rId7"/>
    <p:sldId id="260" r:id="rId8"/>
    <p:sldId id="2147470235" r:id="rId9"/>
    <p:sldId id="2147470231" r:id="rId10"/>
    <p:sldId id="274" r:id="rId11"/>
    <p:sldId id="2147472852" r:id="rId12"/>
    <p:sldId id="2147472854" r:id="rId13"/>
    <p:sldId id="5371" r:id="rId14"/>
    <p:sldId id="2147472855" r:id="rId15"/>
    <p:sldId id="2147472856" r:id="rId16"/>
    <p:sldId id="2147472857" r:id="rId17"/>
    <p:sldId id="261" r:id="rId18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291C"/>
    <a:srgbClr val="7FD1EF"/>
    <a:srgbClr val="005587"/>
    <a:srgbClr val="F8CBAD"/>
    <a:srgbClr val="F4F4F4"/>
    <a:srgbClr val="959CA0"/>
    <a:srgbClr val="FE8A12"/>
    <a:srgbClr val="F4C65A"/>
    <a:srgbClr val="FFE2C4"/>
    <a:srgbClr val="FEC4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707144-D6C3-4B19-9A80-9B6892236691}" v="402" dt="2024-09-26T18:36:05.2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324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4984" y="70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well, Kristen" userId="93f3f6c6-9f8b-4a46-8d11-8a5d6b462338" providerId="ADAL" clId="{A8707144-D6C3-4B19-9A80-9B6892236691}"/>
    <pc:docChg chg="custSel modSld">
      <pc:chgData name="Powell, Kristen" userId="93f3f6c6-9f8b-4a46-8d11-8a5d6b462338" providerId="ADAL" clId="{A8707144-D6C3-4B19-9A80-9B6892236691}" dt="2024-09-26T18:38:50.242" v="549" actId="1076"/>
      <pc:docMkLst>
        <pc:docMk/>
      </pc:docMkLst>
      <pc:sldChg chg="addSp delSp modSp mod">
        <pc:chgData name="Powell, Kristen" userId="93f3f6c6-9f8b-4a46-8d11-8a5d6b462338" providerId="ADAL" clId="{A8707144-D6C3-4B19-9A80-9B6892236691}" dt="2024-09-26T18:38:50.242" v="549" actId="1076"/>
        <pc:sldMkLst>
          <pc:docMk/>
          <pc:sldMk cId="2831150007" sldId="274"/>
        </pc:sldMkLst>
        <pc:spChg chg="del mod">
          <ac:chgData name="Powell, Kristen" userId="93f3f6c6-9f8b-4a46-8d11-8a5d6b462338" providerId="ADAL" clId="{A8707144-D6C3-4B19-9A80-9B6892236691}" dt="2024-09-26T18:37:23.296" v="498" actId="478"/>
          <ac:spMkLst>
            <pc:docMk/>
            <pc:sldMk cId="2831150007" sldId="274"/>
            <ac:spMk id="2" creationId="{00000000-0000-0000-0000-000000000000}"/>
          </ac:spMkLst>
        </pc:spChg>
        <pc:spChg chg="mod">
          <ac:chgData name="Powell, Kristen" userId="93f3f6c6-9f8b-4a46-8d11-8a5d6b462338" providerId="ADAL" clId="{A8707144-D6C3-4B19-9A80-9B6892236691}" dt="2024-09-26T18:35:44.943" v="486" actId="1582"/>
          <ac:spMkLst>
            <pc:docMk/>
            <pc:sldMk cId="2831150007" sldId="274"/>
            <ac:spMk id="6" creationId="{97988348-15FB-492A-911B-932EC31CD32D}"/>
          </ac:spMkLst>
        </pc:spChg>
        <pc:spChg chg="add mod">
          <ac:chgData name="Powell, Kristen" userId="93f3f6c6-9f8b-4a46-8d11-8a5d6b462338" providerId="ADAL" clId="{A8707144-D6C3-4B19-9A80-9B6892236691}" dt="2024-09-26T18:32:01.186" v="275" actId="20577"/>
          <ac:spMkLst>
            <pc:docMk/>
            <pc:sldMk cId="2831150007" sldId="274"/>
            <ac:spMk id="7" creationId="{63C2B5B1-50DD-9475-2915-C28924FBA705}"/>
          </ac:spMkLst>
        </pc:spChg>
        <pc:spChg chg="add mod ord">
          <ac:chgData name="Powell, Kristen" userId="93f3f6c6-9f8b-4a46-8d11-8a5d6b462338" providerId="ADAL" clId="{A8707144-D6C3-4B19-9A80-9B6892236691}" dt="2024-09-26T18:35:03.471" v="481" actId="167"/>
          <ac:spMkLst>
            <pc:docMk/>
            <pc:sldMk cId="2831150007" sldId="274"/>
            <ac:spMk id="11" creationId="{A37AF49B-C76E-CC49-7DB1-4D2E5760B5F7}"/>
          </ac:spMkLst>
        </pc:spChg>
        <pc:spChg chg="add mod">
          <ac:chgData name="Powell, Kristen" userId="93f3f6c6-9f8b-4a46-8d11-8a5d6b462338" providerId="ADAL" clId="{A8707144-D6C3-4B19-9A80-9B6892236691}" dt="2024-09-26T18:37:35.676" v="542" actId="20577"/>
          <ac:spMkLst>
            <pc:docMk/>
            <pc:sldMk cId="2831150007" sldId="274"/>
            <ac:spMk id="17" creationId="{7DB6DECC-42A3-FF7E-599F-ADA8E770DD35}"/>
          </ac:spMkLst>
        </pc:spChg>
        <pc:graphicFrameChg chg="mod modGraphic">
          <ac:chgData name="Powell, Kristen" userId="93f3f6c6-9f8b-4a46-8d11-8a5d6b462338" providerId="ADAL" clId="{A8707144-D6C3-4B19-9A80-9B6892236691}" dt="2024-09-26T18:36:05.258" v="491" actId="20577"/>
          <ac:graphicFrameMkLst>
            <pc:docMk/>
            <pc:sldMk cId="2831150007" sldId="274"/>
            <ac:graphicFrameMk id="10" creationId="{00000000-0000-0000-0000-000000000000}"/>
          </ac:graphicFrameMkLst>
        </pc:graphicFrameChg>
        <pc:picChg chg="add mod">
          <ac:chgData name="Powell, Kristen" userId="93f3f6c6-9f8b-4a46-8d11-8a5d6b462338" providerId="ADAL" clId="{A8707144-D6C3-4B19-9A80-9B6892236691}" dt="2024-09-26T18:35:17.094" v="484" actId="1076"/>
          <ac:picMkLst>
            <pc:docMk/>
            <pc:sldMk cId="2831150007" sldId="274"/>
            <ac:picMk id="9" creationId="{72E79BB9-78D3-5516-3C13-4E071F3CA207}"/>
          </ac:picMkLst>
        </pc:picChg>
        <pc:picChg chg="add mod">
          <ac:chgData name="Powell, Kristen" userId="93f3f6c6-9f8b-4a46-8d11-8a5d6b462338" providerId="ADAL" clId="{A8707144-D6C3-4B19-9A80-9B6892236691}" dt="2024-09-26T18:37:07.822" v="497" actId="1076"/>
          <ac:picMkLst>
            <pc:docMk/>
            <pc:sldMk cId="2831150007" sldId="274"/>
            <ac:picMk id="15" creationId="{0152BB06-3EB8-0183-6E7A-0B05D4F7D1A4}"/>
          </ac:picMkLst>
        </pc:picChg>
        <pc:picChg chg="add mod">
          <ac:chgData name="Powell, Kristen" userId="93f3f6c6-9f8b-4a46-8d11-8a5d6b462338" providerId="ADAL" clId="{A8707144-D6C3-4B19-9A80-9B6892236691}" dt="2024-09-26T18:38:50.242" v="549" actId="1076"/>
          <ac:picMkLst>
            <pc:docMk/>
            <pc:sldMk cId="2831150007" sldId="274"/>
            <ac:picMk id="28" creationId="{AE0E4ACF-6A53-8C8E-1E3B-65CC42891EC2}"/>
          </ac:picMkLst>
        </pc:picChg>
        <pc:cxnChg chg="ord">
          <ac:chgData name="Powell, Kristen" userId="93f3f6c6-9f8b-4a46-8d11-8a5d6b462338" providerId="ADAL" clId="{A8707144-D6C3-4B19-9A80-9B6892236691}" dt="2024-09-26T18:36:11.815" v="492" actId="167"/>
          <ac:cxnSpMkLst>
            <pc:docMk/>
            <pc:sldMk cId="2831150007" sldId="274"/>
            <ac:cxnSpMk id="26" creationId="{00000000-0000-0000-0000-000000000000}"/>
          </ac:cxnSpMkLst>
        </pc:cxn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C4CC23-1AED-4911-B990-E196AD3E166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1C727DED-121D-4AD8-AA68-79ABFCC03EAD}">
      <dgm:prSet phldrT="[Text]" custT="1"/>
      <dgm:spPr/>
      <dgm:t>
        <a:bodyPr/>
        <a:lstStyle/>
        <a:p>
          <a:r>
            <a:rPr lang="en-US" sz="1200" dirty="0"/>
            <a:t>Paul is a potential customer</a:t>
          </a:r>
        </a:p>
      </dgm:t>
    </dgm:pt>
    <dgm:pt modelId="{C9B1DB65-FF89-4DDD-A045-AC6A34E04FDB}" type="parTrans" cxnId="{8B8B8943-5735-4E51-9C25-ABC8E6A691BF}">
      <dgm:prSet/>
      <dgm:spPr/>
      <dgm:t>
        <a:bodyPr/>
        <a:lstStyle/>
        <a:p>
          <a:endParaRPr lang="en-US" sz="1600"/>
        </a:p>
      </dgm:t>
    </dgm:pt>
    <dgm:pt modelId="{FD1FD02B-2F3F-461B-894F-ED1831B4E3BA}" type="sibTrans" cxnId="{8B8B8943-5735-4E51-9C25-ABC8E6A691BF}">
      <dgm:prSet/>
      <dgm:spPr/>
      <dgm:t>
        <a:bodyPr/>
        <a:lstStyle/>
        <a:p>
          <a:endParaRPr lang="en-US" sz="1600"/>
        </a:p>
      </dgm:t>
    </dgm:pt>
    <dgm:pt modelId="{D78605E9-E237-48B6-A04F-8BDC2B05D369}">
      <dgm:prSet phldrT="[Text]" custT="1"/>
      <dgm:spPr/>
      <dgm:t>
        <a:bodyPr/>
        <a:lstStyle/>
        <a:p>
          <a:pPr algn="l"/>
          <a:r>
            <a:rPr lang="en-US" sz="1200" dirty="0"/>
            <a:t>- Paul decides to learn more and fill out a form</a:t>
          </a:r>
        </a:p>
        <a:p>
          <a:pPr algn="l"/>
          <a:r>
            <a:rPr lang="en-US" sz="1200" dirty="0"/>
            <a:t>- Paul’s contact record enters the database</a:t>
          </a:r>
        </a:p>
      </dgm:t>
    </dgm:pt>
    <dgm:pt modelId="{B5F1A00E-C4AB-4B36-A767-C15E7D6D778F}" type="parTrans" cxnId="{A453DA3C-44E2-4173-A7FC-165D082B87A0}">
      <dgm:prSet/>
      <dgm:spPr/>
      <dgm:t>
        <a:bodyPr/>
        <a:lstStyle/>
        <a:p>
          <a:endParaRPr lang="en-US" sz="1600"/>
        </a:p>
      </dgm:t>
    </dgm:pt>
    <dgm:pt modelId="{57A764C2-47F1-4749-AAAC-66E4ACA2C2BE}" type="sibTrans" cxnId="{A453DA3C-44E2-4173-A7FC-165D082B87A0}">
      <dgm:prSet/>
      <dgm:spPr/>
      <dgm:t>
        <a:bodyPr/>
        <a:lstStyle/>
        <a:p>
          <a:endParaRPr lang="en-US" sz="1600"/>
        </a:p>
      </dgm:t>
    </dgm:pt>
    <dgm:pt modelId="{C220A4EF-D114-4622-9156-B934CCE2B880}">
      <dgm:prSet phldrT="[Text]" custT="1"/>
      <dgm:spPr/>
      <dgm:t>
        <a:bodyPr/>
        <a:lstStyle/>
        <a:p>
          <a:pPr algn="l"/>
          <a:endParaRPr lang="en-US" sz="1200" dirty="0"/>
        </a:p>
        <a:p>
          <a:pPr algn="l"/>
          <a:r>
            <a:rPr lang="en-US" sz="1100" dirty="0"/>
            <a:t>- Paul entered his title (VP, Market Access). </a:t>
          </a:r>
        </a:p>
        <a:p>
          <a:pPr algn="l"/>
          <a:r>
            <a:rPr lang="en-US" sz="1100" dirty="0"/>
            <a:t>This automatically matches him to the Paul – Market Access persona segment. Now whenever an email goes out to this segment, Paul will receive the email</a:t>
          </a:r>
        </a:p>
        <a:p>
          <a:pPr algn="ctr"/>
          <a:endParaRPr lang="en-US" sz="1200" dirty="0"/>
        </a:p>
      </dgm:t>
    </dgm:pt>
    <dgm:pt modelId="{AFBD63A4-2653-4F38-805D-B16EC09E3B8F}" type="parTrans" cxnId="{2E660CBC-0EDE-4FFC-8051-6FB9E7BDFE54}">
      <dgm:prSet/>
      <dgm:spPr/>
      <dgm:t>
        <a:bodyPr/>
        <a:lstStyle/>
        <a:p>
          <a:endParaRPr lang="en-US" sz="1600"/>
        </a:p>
      </dgm:t>
    </dgm:pt>
    <dgm:pt modelId="{E167C593-6823-4104-AF00-1ED1FC6DCB80}" type="sibTrans" cxnId="{2E660CBC-0EDE-4FFC-8051-6FB9E7BDFE54}">
      <dgm:prSet/>
      <dgm:spPr/>
      <dgm:t>
        <a:bodyPr/>
        <a:lstStyle/>
        <a:p>
          <a:endParaRPr lang="en-US" sz="1600"/>
        </a:p>
      </dgm:t>
    </dgm:pt>
    <dgm:pt modelId="{E40DD1AE-55CF-452A-9F2F-AD57BE74FFBB}">
      <dgm:prSet custT="1"/>
      <dgm:spPr/>
      <dgm:t>
        <a:bodyPr/>
        <a:lstStyle/>
        <a:p>
          <a:pPr algn="l"/>
          <a:r>
            <a:rPr lang="en-US" sz="1200" dirty="0"/>
            <a:t>Paul clicks on a link on an organic IQVIA LinkedIn posts that takes him to IQVIA.com</a:t>
          </a:r>
        </a:p>
      </dgm:t>
    </dgm:pt>
    <dgm:pt modelId="{F702ABDF-6135-455C-A779-2EBA8822B4F0}" type="parTrans" cxnId="{309213BC-EBE6-4E93-8097-DAB24944FE40}">
      <dgm:prSet/>
      <dgm:spPr/>
      <dgm:t>
        <a:bodyPr/>
        <a:lstStyle/>
        <a:p>
          <a:endParaRPr lang="en-US" sz="1600"/>
        </a:p>
      </dgm:t>
    </dgm:pt>
    <dgm:pt modelId="{2629D75E-8F12-4BD3-9D27-E355BA288777}" type="sibTrans" cxnId="{309213BC-EBE6-4E93-8097-DAB24944FE40}">
      <dgm:prSet/>
      <dgm:spPr/>
      <dgm:t>
        <a:bodyPr/>
        <a:lstStyle/>
        <a:p>
          <a:endParaRPr lang="en-US" sz="1600"/>
        </a:p>
      </dgm:t>
    </dgm:pt>
    <dgm:pt modelId="{DDD43D6E-A600-42C6-8DB8-CAEC71AA8CEA}" type="pres">
      <dgm:prSet presAssocID="{7BC4CC23-1AED-4911-B990-E196AD3E1665}" presName="Name0" presStyleCnt="0">
        <dgm:presLayoutVars>
          <dgm:dir/>
          <dgm:animLvl val="lvl"/>
          <dgm:resizeHandles val="exact"/>
        </dgm:presLayoutVars>
      </dgm:prSet>
      <dgm:spPr/>
    </dgm:pt>
    <dgm:pt modelId="{9E2F780A-7AF6-4CBA-8FDD-2F94C1FD2450}" type="pres">
      <dgm:prSet presAssocID="{1C727DED-121D-4AD8-AA68-79ABFCC03EA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EDF0AC3-7997-474D-9B29-445D3C71890E}" type="pres">
      <dgm:prSet presAssocID="{FD1FD02B-2F3F-461B-894F-ED1831B4E3BA}" presName="parTxOnlySpace" presStyleCnt="0"/>
      <dgm:spPr/>
    </dgm:pt>
    <dgm:pt modelId="{12AA2E71-F5F2-4605-8B26-CE020F1C26D3}" type="pres">
      <dgm:prSet presAssocID="{E40DD1AE-55CF-452A-9F2F-AD57BE74FFBB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5AED80DF-E575-4ECE-B934-34CA68B13F91}" type="pres">
      <dgm:prSet presAssocID="{2629D75E-8F12-4BD3-9D27-E355BA288777}" presName="parTxOnlySpace" presStyleCnt="0"/>
      <dgm:spPr/>
    </dgm:pt>
    <dgm:pt modelId="{3B0F1518-8CC0-4CEB-A683-C7031EBAA55F}" type="pres">
      <dgm:prSet presAssocID="{D78605E9-E237-48B6-A04F-8BDC2B05D369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060E649E-772F-4E3C-B15B-A93E0E2D8429}" type="pres">
      <dgm:prSet presAssocID="{57A764C2-47F1-4749-AAAC-66E4ACA2C2BE}" presName="parTxOnlySpace" presStyleCnt="0"/>
      <dgm:spPr/>
    </dgm:pt>
    <dgm:pt modelId="{BD5FDEC3-6351-49B5-BB8E-FD2A2C75E75F}" type="pres">
      <dgm:prSet presAssocID="{C220A4EF-D114-4622-9156-B934CCE2B880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5B1371A-90C4-46D3-9E9B-5BAD60576958}" type="presOf" srcId="{7BC4CC23-1AED-4911-B990-E196AD3E1665}" destId="{DDD43D6E-A600-42C6-8DB8-CAEC71AA8CEA}" srcOrd="0" destOrd="0" presId="urn:microsoft.com/office/officeart/2005/8/layout/chevron1"/>
    <dgm:cxn modelId="{A453DA3C-44E2-4173-A7FC-165D082B87A0}" srcId="{7BC4CC23-1AED-4911-B990-E196AD3E1665}" destId="{D78605E9-E237-48B6-A04F-8BDC2B05D369}" srcOrd="2" destOrd="0" parTransId="{B5F1A00E-C4AB-4B36-A767-C15E7D6D778F}" sibTransId="{57A764C2-47F1-4749-AAAC-66E4ACA2C2BE}"/>
    <dgm:cxn modelId="{8B8B8943-5735-4E51-9C25-ABC8E6A691BF}" srcId="{7BC4CC23-1AED-4911-B990-E196AD3E1665}" destId="{1C727DED-121D-4AD8-AA68-79ABFCC03EAD}" srcOrd="0" destOrd="0" parTransId="{C9B1DB65-FF89-4DDD-A045-AC6A34E04FDB}" sibTransId="{FD1FD02B-2F3F-461B-894F-ED1831B4E3BA}"/>
    <dgm:cxn modelId="{AA24AA87-D699-4AD7-87C2-5A5AB6209710}" type="presOf" srcId="{D78605E9-E237-48B6-A04F-8BDC2B05D369}" destId="{3B0F1518-8CC0-4CEB-A683-C7031EBAA55F}" srcOrd="0" destOrd="0" presId="urn:microsoft.com/office/officeart/2005/8/layout/chevron1"/>
    <dgm:cxn modelId="{DD8A9C94-EF64-44A3-A157-D6AA1D916FF4}" type="presOf" srcId="{1C727DED-121D-4AD8-AA68-79ABFCC03EAD}" destId="{9E2F780A-7AF6-4CBA-8FDD-2F94C1FD2450}" srcOrd="0" destOrd="0" presId="urn:microsoft.com/office/officeart/2005/8/layout/chevron1"/>
    <dgm:cxn modelId="{1221A4B7-240E-4C95-A447-29C8C82C203C}" type="presOf" srcId="{C220A4EF-D114-4622-9156-B934CCE2B880}" destId="{BD5FDEC3-6351-49B5-BB8E-FD2A2C75E75F}" srcOrd="0" destOrd="0" presId="urn:microsoft.com/office/officeart/2005/8/layout/chevron1"/>
    <dgm:cxn modelId="{2E660CBC-0EDE-4FFC-8051-6FB9E7BDFE54}" srcId="{7BC4CC23-1AED-4911-B990-E196AD3E1665}" destId="{C220A4EF-D114-4622-9156-B934CCE2B880}" srcOrd="3" destOrd="0" parTransId="{AFBD63A4-2653-4F38-805D-B16EC09E3B8F}" sibTransId="{E167C593-6823-4104-AF00-1ED1FC6DCB80}"/>
    <dgm:cxn modelId="{309213BC-EBE6-4E93-8097-DAB24944FE40}" srcId="{7BC4CC23-1AED-4911-B990-E196AD3E1665}" destId="{E40DD1AE-55CF-452A-9F2F-AD57BE74FFBB}" srcOrd="1" destOrd="0" parTransId="{F702ABDF-6135-455C-A779-2EBA8822B4F0}" sibTransId="{2629D75E-8F12-4BD3-9D27-E355BA288777}"/>
    <dgm:cxn modelId="{65D729DC-D54C-45F4-BF37-4A798E0C0AE8}" type="presOf" srcId="{E40DD1AE-55CF-452A-9F2F-AD57BE74FFBB}" destId="{12AA2E71-F5F2-4605-8B26-CE020F1C26D3}" srcOrd="0" destOrd="0" presId="urn:microsoft.com/office/officeart/2005/8/layout/chevron1"/>
    <dgm:cxn modelId="{3DB082D9-26F1-448B-9D30-C0611A621E89}" type="presParOf" srcId="{DDD43D6E-A600-42C6-8DB8-CAEC71AA8CEA}" destId="{9E2F780A-7AF6-4CBA-8FDD-2F94C1FD2450}" srcOrd="0" destOrd="0" presId="urn:microsoft.com/office/officeart/2005/8/layout/chevron1"/>
    <dgm:cxn modelId="{EB80652C-41D4-45C9-99C6-5DD58045D107}" type="presParOf" srcId="{DDD43D6E-A600-42C6-8DB8-CAEC71AA8CEA}" destId="{9EDF0AC3-7997-474D-9B29-445D3C71890E}" srcOrd="1" destOrd="0" presId="urn:microsoft.com/office/officeart/2005/8/layout/chevron1"/>
    <dgm:cxn modelId="{11F7FE54-50BD-4384-B336-EFCC7AB1599C}" type="presParOf" srcId="{DDD43D6E-A600-42C6-8DB8-CAEC71AA8CEA}" destId="{12AA2E71-F5F2-4605-8B26-CE020F1C26D3}" srcOrd="2" destOrd="0" presId="urn:microsoft.com/office/officeart/2005/8/layout/chevron1"/>
    <dgm:cxn modelId="{64656A9A-197F-4FBB-BEF6-A790F0BEDD96}" type="presParOf" srcId="{DDD43D6E-A600-42C6-8DB8-CAEC71AA8CEA}" destId="{5AED80DF-E575-4ECE-B934-34CA68B13F91}" srcOrd="3" destOrd="0" presId="urn:microsoft.com/office/officeart/2005/8/layout/chevron1"/>
    <dgm:cxn modelId="{54E82654-3C70-473B-B8A5-67FDB0B11CFB}" type="presParOf" srcId="{DDD43D6E-A600-42C6-8DB8-CAEC71AA8CEA}" destId="{3B0F1518-8CC0-4CEB-A683-C7031EBAA55F}" srcOrd="4" destOrd="0" presId="urn:microsoft.com/office/officeart/2005/8/layout/chevron1"/>
    <dgm:cxn modelId="{8E4D31D7-DCF3-4BD4-ABE1-4E0C24A637B9}" type="presParOf" srcId="{DDD43D6E-A600-42C6-8DB8-CAEC71AA8CEA}" destId="{060E649E-772F-4E3C-B15B-A93E0E2D8429}" srcOrd="5" destOrd="0" presId="urn:microsoft.com/office/officeart/2005/8/layout/chevron1"/>
    <dgm:cxn modelId="{E6B5E82D-9129-4DCD-A83A-E6A97F6AC6EE}" type="presParOf" srcId="{DDD43D6E-A600-42C6-8DB8-CAEC71AA8CEA}" destId="{BD5FDEC3-6351-49B5-BB8E-FD2A2C75E75F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2F780A-7AF6-4CBA-8FDD-2F94C1FD2450}">
      <dsp:nvSpPr>
        <dsp:cNvPr id="0" name=""/>
        <dsp:cNvSpPr/>
      </dsp:nvSpPr>
      <dsp:spPr>
        <a:xfrm>
          <a:off x="5618" y="45070"/>
          <a:ext cx="3270645" cy="130825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aul is a potential customer</a:t>
          </a:r>
        </a:p>
      </dsp:txBody>
      <dsp:txXfrm>
        <a:off x="659747" y="45070"/>
        <a:ext cx="1962387" cy="1308258"/>
      </dsp:txXfrm>
    </dsp:sp>
    <dsp:sp modelId="{12AA2E71-F5F2-4605-8B26-CE020F1C26D3}">
      <dsp:nvSpPr>
        <dsp:cNvPr id="0" name=""/>
        <dsp:cNvSpPr/>
      </dsp:nvSpPr>
      <dsp:spPr>
        <a:xfrm>
          <a:off x="2949199" y="45070"/>
          <a:ext cx="3270645" cy="130825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aul clicks on a link on an organic IQVIA LinkedIn posts that takes him to IQVIA.com</a:t>
          </a:r>
        </a:p>
      </dsp:txBody>
      <dsp:txXfrm>
        <a:off x="3603328" y="45070"/>
        <a:ext cx="1962387" cy="1308258"/>
      </dsp:txXfrm>
    </dsp:sp>
    <dsp:sp modelId="{3B0F1518-8CC0-4CEB-A683-C7031EBAA55F}">
      <dsp:nvSpPr>
        <dsp:cNvPr id="0" name=""/>
        <dsp:cNvSpPr/>
      </dsp:nvSpPr>
      <dsp:spPr>
        <a:xfrm>
          <a:off x="5892780" y="45070"/>
          <a:ext cx="3270645" cy="130825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- Paul decides to learn more and fill out a form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- Paul’s contact record enters the database</a:t>
          </a:r>
        </a:p>
      </dsp:txBody>
      <dsp:txXfrm>
        <a:off x="6546909" y="45070"/>
        <a:ext cx="1962387" cy="1308258"/>
      </dsp:txXfrm>
    </dsp:sp>
    <dsp:sp modelId="{BD5FDEC3-6351-49B5-BB8E-FD2A2C75E75F}">
      <dsp:nvSpPr>
        <dsp:cNvPr id="0" name=""/>
        <dsp:cNvSpPr/>
      </dsp:nvSpPr>
      <dsp:spPr>
        <a:xfrm>
          <a:off x="8836361" y="45070"/>
          <a:ext cx="3270645" cy="130825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- Paul entered his title (VP, Market Access). 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This automatically matches him to the Paul – Market Access persona segment. Now whenever an email goes out to this segment, Paul will receive the email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9490490" y="45070"/>
        <a:ext cx="1962387" cy="13082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0/9/2024</a:t>
            </a:fld>
            <a:endParaRPr lang="en-US" sz="10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10/9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845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n average segmented campaigns get 23% more opens and 49% more </a:t>
            </a:r>
            <a:r>
              <a:rPr lang="en-US" dirty="0" err="1"/>
              <a:t>clickthroughs</a:t>
            </a:r>
            <a:r>
              <a:rPr lang="en-US" dirty="0"/>
              <a:t> than unsegmented campaign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689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ing their entry points is like understanding their journey to you, allowing you to guide them further effectivel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42669E-21B3-4C91-9564-148A9DAC32A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598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rchin</a:t>
            </a:r>
            <a:r>
              <a:rPr lang="en-US" baseline="0" dirty="0"/>
              <a:t> Tracking Module 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465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jpe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8E3D6F47-43BF-4540-9690-AE662057D2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8E2C89B-7571-F544-938F-C999797826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49D536-F609-A744-B36A-8BFB5245F4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12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A43F6D9-2B76-4F47-8BB1-588F5D046A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1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o-Brand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5C45F24-760D-4806-80BF-4B954EEA0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55299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C359E7-88C6-42D4-9B64-F7D5FE9CDBC5}"/>
              </a:ext>
            </a:extLst>
          </p:cNvPr>
          <p:cNvGrpSpPr/>
          <p:nvPr/>
        </p:nvGrpSpPr>
        <p:grpSpPr>
          <a:xfrm>
            <a:off x="9941531" y="3804028"/>
            <a:ext cx="2250469" cy="2651308"/>
            <a:chOff x="9941531" y="3804028"/>
            <a:chExt cx="2250469" cy="2651308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4384A34-21CA-42A4-8E46-1EEAC237500E}"/>
                </a:ext>
              </a:extLst>
            </p:cNvPr>
            <p:cNvSpPr/>
            <p:nvPr/>
          </p:nvSpPr>
          <p:spPr>
            <a:xfrm>
              <a:off x="10755844" y="5906186"/>
              <a:ext cx="1436156" cy="549150"/>
            </a:xfrm>
            <a:custGeom>
              <a:avLst/>
              <a:gdLst>
                <a:gd name="connsiteX0" fmla="*/ 274575 w 1436156"/>
                <a:gd name="connsiteY0" fmla="*/ 0 h 549150"/>
                <a:gd name="connsiteX1" fmla="*/ 276477 w 1436156"/>
                <a:gd name="connsiteY1" fmla="*/ 192 h 549150"/>
                <a:gd name="connsiteX2" fmla="*/ 276477 w 1436156"/>
                <a:gd name="connsiteY2" fmla="*/ 0 h 549150"/>
                <a:gd name="connsiteX3" fmla="*/ 1436156 w 1436156"/>
                <a:gd name="connsiteY3" fmla="*/ 0 h 549150"/>
                <a:gd name="connsiteX4" fmla="*/ 1436156 w 1436156"/>
                <a:gd name="connsiteY4" fmla="*/ 549150 h 549150"/>
                <a:gd name="connsiteX5" fmla="*/ 276477 w 1436156"/>
                <a:gd name="connsiteY5" fmla="*/ 549150 h 549150"/>
                <a:gd name="connsiteX6" fmla="*/ 276477 w 1436156"/>
                <a:gd name="connsiteY6" fmla="*/ 548959 h 549150"/>
                <a:gd name="connsiteX7" fmla="*/ 274575 w 1436156"/>
                <a:gd name="connsiteY7" fmla="*/ 549150 h 549150"/>
                <a:gd name="connsiteX8" fmla="*/ 0 w 1436156"/>
                <a:gd name="connsiteY8" fmla="*/ 274575 h 549150"/>
                <a:gd name="connsiteX9" fmla="*/ 274575 w 143615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6156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1436156" y="0"/>
                  </a:lnTo>
                  <a:lnTo>
                    <a:pt x="1436156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C482A3-7472-489E-8622-A62D97CBD17C}"/>
                </a:ext>
              </a:extLst>
            </p:cNvPr>
            <p:cNvSpPr/>
            <p:nvPr/>
          </p:nvSpPr>
          <p:spPr>
            <a:xfrm>
              <a:off x="10356354" y="3804028"/>
              <a:ext cx="1835646" cy="549150"/>
            </a:xfrm>
            <a:custGeom>
              <a:avLst/>
              <a:gdLst>
                <a:gd name="connsiteX0" fmla="*/ 274073 w 1835646"/>
                <a:gd name="connsiteY0" fmla="*/ 0 h 549150"/>
                <a:gd name="connsiteX1" fmla="*/ 278104 w 1835646"/>
                <a:gd name="connsiteY1" fmla="*/ 407 h 549150"/>
                <a:gd name="connsiteX2" fmla="*/ 278104 w 1835646"/>
                <a:gd name="connsiteY2" fmla="*/ 0 h 549150"/>
                <a:gd name="connsiteX3" fmla="*/ 1835646 w 1835646"/>
                <a:gd name="connsiteY3" fmla="*/ 0 h 549150"/>
                <a:gd name="connsiteX4" fmla="*/ 1835646 w 1835646"/>
                <a:gd name="connsiteY4" fmla="*/ 549150 h 549150"/>
                <a:gd name="connsiteX5" fmla="*/ 278104 w 1835646"/>
                <a:gd name="connsiteY5" fmla="*/ 549150 h 549150"/>
                <a:gd name="connsiteX6" fmla="*/ 278104 w 1835646"/>
                <a:gd name="connsiteY6" fmla="*/ 547742 h 549150"/>
                <a:gd name="connsiteX7" fmla="*/ 274073 w 1835646"/>
                <a:gd name="connsiteY7" fmla="*/ 548148 h 549150"/>
                <a:gd name="connsiteX8" fmla="*/ 0 w 1835646"/>
                <a:gd name="connsiteY8" fmla="*/ 274074 h 549150"/>
                <a:gd name="connsiteX9" fmla="*/ 274073 w 183564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5646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1835646" y="0"/>
                  </a:lnTo>
                  <a:lnTo>
                    <a:pt x="1835646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4C68CD5-1D99-4C2F-8258-B69F780AC527}"/>
                </a:ext>
              </a:extLst>
            </p:cNvPr>
            <p:cNvSpPr/>
            <p:nvPr/>
          </p:nvSpPr>
          <p:spPr>
            <a:xfrm>
              <a:off x="9941531" y="4854606"/>
              <a:ext cx="2250469" cy="549150"/>
            </a:xfrm>
            <a:custGeom>
              <a:avLst/>
              <a:gdLst>
                <a:gd name="connsiteX0" fmla="*/ 299044 w 2250469"/>
                <a:gd name="connsiteY0" fmla="*/ 0 h 549150"/>
                <a:gd name="connsiteX1" fmla="*/ 300889 w 2250469"/>
                <a:gd name="connsiteY1" fmla="*/ 171 h 549150"/>
                <a:gd name="connsiteX2" fmla="*/ 300889 w 2250469"/>
                <a:gd name="connsiteY2" fmla="*/ 0 h 549150"/>
                <a:gd name="connsiteX3" fmla="*/ 2250469 w 2250469"/>
                <a:gd name="connsiteY3" fmla="*/ 0 h 549150"/>
                <a:gd name="connsiteX4" fmla="*/ 2250469 w 2250469"/>
                <a:gd name="connsiteY4" fmla="*/ 549150 h 549150"/>
                <a:gd name="connsiteX5" fmla="*/ 300889 w 2250469"/>
                <a:gd name="connsiteY5" fmla="*/ 549150 h 549150"/>
                <a:gd name="connsiteX6" fmla="*/ 300889 w 2250469"/>
                <a:gd name="connsiteY6" fmla="*/ 548980 h 549150"/>
                <a:gd name="connsiteX7" fmla="*/ 299044 w 2250469"/>
                <a:gd name="connsiteY7" fmla="*/ 549150 h 549150"/>
                <a:gd name="connsiteX8" fmla="*/ 0 w 2250469"/>
                <a:gd name="connsiteY8" fmla="*/ 274575 h 549150"/>
                <a:gd name="connsiteX9" fmla="*/ 299044 w 2250469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469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2250469" y="0"/>
                  </a:lnTo>
                  <a:lnTo>
                    <a:pt x="2250469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/>
            </a:p>
          </p:txBody>
        </p:sp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EFFBAF58-7775-B441-95B2-60BAEE6306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80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7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3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 - IQVIA">
    <p:bg>
      <p:bgPr>
        <a:gradFill>
          <a:gsLst>
            <a:gs pos="20000">
              <a:schemeClr val="accent4"/>
            </a:gs>
            <a:gs pos="8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rgbClr val="A1D794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A1D794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EBCA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D06917E-3E0E-6D47-9181-57DC0B9695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3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Light Grey - IQVIA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0F63227-657D-4706-8FAB-F4C1769683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6482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ark_Rounded _Rectangle - IQVIA">
    <p:bg>
      <p:bgPr>
        <a:gradFill>
          <a:gsLst>
            <a:gs pos="20000">
              <a:srgbClr val="005587"/>
            </a:gs>
            <a:gs pos="80000">
              <a:srgbClr val="00A3E0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4C53D69-3883-4CD7-B4A3-0EDE640877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1527" y="132055"/>
            <a:ext cx="6530473" cy="6725702"/>
          </a:xfrm>
          <a:custGeom>
            <a:avLst/>
            <a:gdLst>
              <a:gd name="connsiteX0" fmla="*/ 3574701 w 6530473"/>
              <a:gd name="connsiteY0" fmla="*/ 0 h 6725702"/>
              <a:gd name="connsiteX1" fmla="*/ 4187015 w 6530473"/>
              <a:gd name="connsiteY1" fmla="*/ 254020 h 6725702"/>
              <a:gd name="connsiteX2" fmla="*/ 6317569 w 6530473"/>
              <a:gd name="connsiteY2" fmla="*/ 2385420 h 6725702"/>
              <a:gd name="connsiteX3" fmla="*/ 6530473 w 6530473"/>
              <a:gd name="connsiteY3" fmla="*/ 2598409 h 6725702"/>
              <a:gd name="connsiteX4" fmla="*/ 6530473 w 6530473"/>
              <a:gd name="connsiteY4" fmla="*/ 4551187 h 6725702"/>
              <a:gd name="connsiteX5" fmla="*/ 6526176 w 6530473"/>
              <a:gd name="connsiteY5" fmla="*/ 4555486 h 6725702"/>
              <a:gd name="connsiteX6" fmla="*/ 4529774 w 6530473"/>
              <a:gd name="connsiteY6" fmla="*/ 6552682 h 6725702"/>
              <a:gd name="connsiteX7" fmla="*/ 4356822 w 6530473"/>
              <a:gd name="connsiteY7" fmla="*/ 6725702 h 6725702"/>
              <a:gd name="connsiteX8" fmla="*/ 2792552 w 6530473"/>
              <a:gd name="connsiteY8" fmla="*/ 6725702 h 6725702"/>
              <a:gd name="connsiteX9" fmla="*/ 2779469 w 6530473"/>
              <a:gd name="connsiteY9" fmla="*/ 6712628 h 6725702"/>
              <a:gd name="connsiteX10" fmla="*/ 253920 w 6530473"/>
              <a:gd name="connsiteY10" fmla="*/ 4188679 h 6725702"/>
              <a:gd name="connsiteX11" fmla="*/ 253920 w 6530473"/>
              <a:gd name="connsiteY11" fmla="*/ 2960917 h 6725702"/>
              <a:gd name="connsiteX12" fmla="*/ 2962386 w 6530473"/>
              <a:gd name="connsiteY12" fmla="*/ 254020 h 6725702"/>
              <a:gd name="connsiteX13" fmla="*/ 3574701 w 6530473"/>
              <a:gd name="connsiteY13" fmla="*/ 0 h 6725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530473" h="6725702">
                <a:moveTo>
                  <a:pt x="3574701" y="0"/>
                </a:moveTo>
                <a:cubicBezTo>
                  <a:pt x="3796218" y="0"/>
                  <a:pt x="4017736" y="84674"/>
                  <a:pt x="4187015" y="254020"/>
                </a:cubicBezTo>
                <a:cubicBezTo>
                  <a:pt x="4187015" y="254020"/>
                  <a:pt x="4187015" y="254020"/>
                  <a:pt x="6317569" y="2385420"/>
                </a:cubicBezTo>
                <a:lnTo>
                  <a:pt x="6530473" y="2598409"/>
                </a:lnTo>
                <a:lnTo>
                  <a:pt x="6530473" y="4551187"/>
                </a:lnTo>
                <a:lnTo>
                  <a:pt x="6526176" y="4555486"/>
                </a:lnTo>
                <a:cubicBezTo>
                  <a:pt x="6497164" y="4584510"/>
                  <a:pt x="6272319" y="4809444"/>
                  <a:pt x="4529774" y="6552682"/>
                </a:cubicBezTo>
                <a:lnTo>
                  <a:pt x="4356822" y="6725702"/>
                </a:lnTo>
                <a:lnTo>
                  <a:pt x="2792552" y="6725702"/>
                </a:lnTo>
                <a:lnTo>
                  <a:pt x="2779469" y="6712628"/>
                </a:lnTo>
                <a:cubicBezTo>
                  <a:pt x="2659205" y="6592440"/>
                  <a:pt x="2178148" y="6111688"/>
                  <a:pt x="253920" y="4188679"/>
                </a:cubicBezTo>
                <a:cubicBezTo>
                  <a:pt x="-84639" y="3849986"/>
                  <a:pt x="-84639" y="3299610"/>
                  <a:pt x="253920" y="2960917"/>
                </a:cubicBezTo>
                <a:cubicBezTo>
                  <a:pt x="253920" y="2960917"/>
                  <a:pt x="253920" y="2960917"/>
                  <a:pt x="2962386" y="254020"/>
                </a:cubicBezTo>
                <a:cubicBezTo>
                  <a:pt x="3131666" y="84674"/>
                  <a:pt x="3353183" y="0"/>
                  <a:pt x="3574701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  <p:sp>
        <p:nvSpPr>
          <p:cNvPr id="37" name="Title 1">
            <a:extLst>
              <a:ext uri="{FF2B5EF4-FFF2-40B4-BE49-F238E27FC236}">
                <a16:creationId xmlns:a16="http://schemas.microsoft.com/office/drawing/2014/main" id="{3B6DCC28-D5BD-4271-A1CD-A5269AA52C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24157" y="331596"/>
            <a:ext cx="4637370" cy="478301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07A170F-D80C-4397-A709-AB5152D2159A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2" name="Freeform 6">
            <a:extLst>
              <a:ext uri="{FF2B5EF4-FFF2-40B4-BE49-F238E27FC236}">
                <a16:creationId xmlns:a16="http://schemas.microsoft.com/office/drawing/2014/main" id="{A3614197-F405-1D49-46A3-D9220CE8F654}"/>
              </a:ext>
            </a:extLst>
          </p:cNvPr>
          <p:cNvSpPr>
            <a:spLocks/>
          </p:cNvSpPr>
          <p:nvPr userDrawn="1"/>
        </p:nvSpPr>
        <p:spPr bwMode="auto">
          <a:xfrm>
            <a:off x="9767522" y="-3175"/>
            <a:ext cx="2430828" cy="2257425"/>
          </a:xfrm>
          <a:custGeom>
            <a:avLst/>
            <a:gdLst>
              <a:gd name="T0" fmla="*/ 0 w 917"/>
              <a:gd name="T1" fmla="*/ 0 h 851"/>
              <a:gd name="T2" fmla="*/ 765 w 917"/>
              <a:gd name="T3" fmla="*/ 765 h 851"/>
              <a:gd name="T4" fmla="*/ 917 w 917"/>
              <a:gd name="T5" fmla="*/ 851 h 851"/>
              <a:gd name="T6" fmla="*/ 917 w 917"/>
              <a:gd name="T7" fmla="*/ 0 h 851"/>
              <a:gd name="T8" fmla="*/ 0 w 917"/>
              <a:gd name="T9" fmla="*/ 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7" h="851">
                <a:moveTo>
                  <a:pt x="0" y="0"/>
                </a:moveTo>
                <a:cubicBezTo>
                  <a:pt x="765" y="765"/>
                  <a:pt x="765" y="765"/>
                  <a:pt x="765" y="765"/>
                </a:cubicBezTo>
                <a:cubicBezTo>
                  <a:pt x="809" y="809"/>
                  <a:pt x="862" y="837"/>
                  <a:pt x="917" y="851"/>
                </a:cubicBezTo>
                <a:cubicBezTo>
                  <a:pt x="917" y="0"/>
                  <a:pt x="917" y="0"/>
                  <a:pt x="91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 sz="1600"/>
          </a:p>
        </p:txBody>
      </p:sp>
      <p:sp>
        <p:nvSpPr>
          <p:cNvPr id="3" name="Freeform 7">
            <a:extLst>
              <a:ext uri="{FF2B5EF4-FFF2-40B4-BE49-F238E27FC236}">
                <a16:creationId xmlns:a16="http://schemas.microsoft.com/office/drawing/2014/main" id="{12607981-6248-CF75-BFC3-98931F3EC252}"/>
              </a:ext>
            </a:extLst>
          </p:cNvPr>
          <p:cNvSpPr>
            <a:spLocks/>
          </p:cNvSpPr>
          <p:nvPr userDrawn="1"/>
        </p:nvSpPr>
        <p:spPr bwMode="auto">
          <a:xfrm>
            <a:off x="3217522" y="-3175"/>
            <a:ext cx="5490925" cy="2485573"/>
          </a:xfrm>
          <a:custGeom>
            <a:avLst/>
            <a:gdLst>
              <a:gd name="T0" fmla="*/ 1322 w 2181"/>
              <a:gd name="T1" fmla="*/ 859 h 987"/>
              <a:gd name="T2" fmla="*/ 2181 w 2181"/>
              <a:gd name="T3" fmla="*/ 0 h 987"/>
              <a:gd name="T4" fmla="*/ 0 w 2181"/>
              <a:gd name="T5" fmla="*/ 0 h 987"/>
              <a:gd name="T6" fmla="*/ 858 w 2181"/>
              <a:gd name="T7" fmla="*/ 859 h 987"/>
              <a:gd name="T8" fmla="*/ 1322 w 2181"/>
              <a:gd name="T9" fmla="*/ 859 h 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1" h="987">
                <a:moveTo>
                  <a:pt x="1322" y="859"/>
                </a:moveTo>
                <a:cubicBezTo>
                  <a:pt x="2181" y="0"/>
                  <a:pt x="2181" y="0"/>
                  <a:pt x="2181" y="0"/>
                </a:cubicBezTo>
                <a:cubicBezTo>
                  <a:pt x="0" y="0"/>
                  <a:pt x="0" y="0"/>
                  <a:pt x="0" y="0"/>
                </a:cubicBezTo>
                <a:cubicBezTo>
                  <a:pt x="858" y="859"/>
                  <a:pt x="858" y="859"/>
                  <a:pt x="858" y="859"/>
                </a:cubicBezTo>
                <a:cubicBezTo>
                  <a:pt x="986" y="987"/>
                  <a:pt x="1194" y="987"/>
                  <a:pt x="1322" y="859"/>
                </a:cubicBezTo>
                <a:close/>
              </a:path>
            </a:pathLst>
          </a:custGeom>
          <a:solidFill>
            <a:schemeClr val="accent1">
              <a:lumMod val="75000"/>
              <a:alpha val="52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GB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56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_Rounded _Rectangl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9875" y="5900911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6F8EA9A-81B1-48B5-8794-9C24108572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4C68B8-E430-020A-E1AF-70E83332DB1B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42" name="Freeform 6">
            <a:extLst>
              <a:ext uri="{FF2B5EF4-FFF2-40B4-BE49-F238E27FC236}">
                <a16:creationId xmlns:a16="http://schemas.microsoft.com/office/drawing/2014/main" id="{BA1E3B59-56D9-49DB-A0C9-2DF07AC82E5E}"/>
              </a:ext>
            </a:extLst>
          </p:cNvPr>
          <p:cNvSpPr>
            <a:spLocks/>
          </p:cNvSpPr>
          <p:nvPr userDrawn="1"/>
        </p:nvSpPr>
        <p:spPr bwMode="auto">
          <a:xfrm>
            <a:off x="9767522" y="-3175"/>
            <a:ext cx="2430828" cy="2257425"/>
          </a:xfrm>
          <a:custGeom>
            <a:avLst/>
            <a:gdLst>
              <a:gd name="T0" fmla="*/ 0 w 917"/>
              <a:gd name="T1" fmla="*/ 0 h 851"/>
              <a:gd name="T2" fmla="*/ 765 w 917"/>
              <a:gd name="T3" fmla="*/ 765 h 851"/>
              <a:gd name="T4" fmla="*/ 917 w 917"/>
              <a:gd name="T5" fmla="*/ 851 h 851"/>
              <a:gd name="T6" fmla="*/ 917 w 917"/>
              <a:gd name="T7" fmla="*/ 0 h 851"/>
              <a:gd name="T8" fmla="*/ 0 w 917"/>
              <a:gd name="T9" fmla="*/ 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7" h="851">
                <a:moveTo>
                  <a:pt x="0" y="0"/>
                </a:moveTo>
                <a:cubicBezTo>
                  <a:pt x="765" y="765"/>
                  <a:pt x="765" y="765"/>
                  <a:pt x="765" y="765"/>
                </a:cubicBezTo>
                <a:cubicBezTo>
                  <a:pt x="809" y="809"/>
                  <a:pt x="862" y="837"/>
                  <a:pt x="917" y="851"/>
                </a:cubicBezTo>
                <a:cubicBezTo>
                  <a:pt x="917" y="0"/>
                  <a:pt x="917" y="0"/>
                  <a:pt x="91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 sz="1600"/>
          </a:p>
        </p:txBody>
      </p:sp>
      <p:sp>
        <p:nvSpPr>
          <p:cNvPr id="43" name="Freeform 7">
            <a:extLst>
              <a:ext uri="{FF2B5EF4-FFF2-40B4-BE49-F238E27FC236}">
                <a16:creationId xmlns:a16="http://schemas.microsoft.com/office/drawing/2014/main" id="{CB1D6DC5-500F-4690-AD5C-93A625BA3724}"/>
              </a:ext>
            </a:extLst>
          </p:cNvPr>
          <p:cNvSpPr>
            <a:spLocks/>
          </p:cNvSpPr>
          <p:nvPr userDrawn="1"/>
        </p:nvSpPr>
        <p:spPr bwMode="auto">
          <a:xfrm>
            <a:off x="3217522" y="-3175"/>
            <a:ext cx="5490925" cy="2485573"/>
          </a:xfrm>
          <a:custGeom>
            <a:avLst/>
            <a:gdLst>
              <a:gd name="T0" fmla="*/ 1322 w 2181"/>
              <a:gd name="T1" fmla="*/ 859 h 987"/>
              <a:gd name="T2" fmla="*/ 2181 w 2181"/>
              <a:gd name="T3" fmla="*/ 0 h 987"/>
              <a:gd name="T4" fmla="*/ 0 w 2181"/>
              <a:gd name="T5" fmla="*/ 0 h 987"/>
              <a:gd name="T6" fmla="*/ 858 w 2181"/>
              <a:gd name="T7" fmla="*/ 859 h 987"/>
              <a:gd name="T8" fmla="*/ 1322 w 2181"/>
              <a:gd name="T9" fmla="*/ 859 h 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1" h="987">
                <a:moveTo>
                  <a:pt x="1322" y="859"/>
                </a:moveTo>
                <a:cubicBezTo>
                  <a:pt x="2181" y="0"/>
                  <a:pt x="2181" y="0"/>
                  <a:pt x="2181" y="0"/>
                </a:cubicBezTo>
                <a:cubicBezTo>
                  <a:pt x="0" y="0"/>
                  <a:pt x="0" y="0"/>
                  <a:pt x="0" y="0"/>
                </a:cubicBezTo>
                <a:cubicBezTo>
                  <a:pt x="858" y="859"/>
                  <a:pt x="858" y="859"/>
                  <a:pt x="858" y="859"/>
                </a:cubicBezTo>
                <a:cubicBezTo>
                  <a:pt x="986" y="987"/>
                  <a:pt x="1194" y="987"/>
                  <a:pt x="1322" y="859"/>
                </a:cubicBezTo>
                <a:close/>
              </a:path>
            </a:pathLst>
          </a:custGeom>
          <a:solidFill>
            <a:schemeClr val="accent1">
              <a:lumMod val="75000"/>
              <a:alpha val="52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GB" sz="1600">
              <a:solidFill>
                <a:schemeClr val="lt1"/>
              </a:solidFill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CAE1B4E0-B445-42BA-9CA9-4536768D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24157" y="331596"/>
            <a:ext cx="4631020" cy="478301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43DCC4E-402C-46AF-9555-0267C1C0A6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1527" y="132055"/>
            <a:ext cx="6530473" cy="6725702"/>
          </a:xfrm>
          <a:custGeom>
            <a:avLst/>
            <a:gdLst>
              <a:gd name="connsiteX0" fmla="*/ 3574701 w 6530473"/>
              <a:gd name="connsiteY0" fmla="*/ 0 h 6725702"/>
              <a:gd name="connsiteX1" fmla="*/ 4187015 w 6530473"/>
              <a:gd name="connsiteY1" fmla="*/ 254020 h 6725702"/>
              <a:gd name="connsiteX2" fmla="*/ 6317569 w 6530473"/>
              <a:gd name="connsiteY2" fmla="*/ 2385420 h 6725702"/>
              <a:gd name="connsiteX3" fmla="*/ 6530473 w 6530473"/>
              <a:gd name="connsiteY3" fmla="*/ 2598409 h 6725702"/>
              <a:gd name="connsiteX4" fmla="*/ 6530473 w 6530473"/>
              <a:gd name="connsiteY4" fmla="*/ 4551187 h 6725702"/>
              <a:gd name="connsiteX5" fmla="*/ 6526176 w 6530473"/>
              <a:gd name="connsiteY5" fmla="*/ 4555486 h 6725702"/>
              <a:gd name="connsiteX6" fmla="*/ 4529774 w 6530473"/>
              <a:gd name="connsiteY6" fmla="*/ 6552682 h 6725702"/>
              <a:gd name="connsiteX7" fmla="*/ 4356822 w 6530473"/>
              <a:gd name="connsiteY7" fmla="*/ 6725702 h 6725702"/>
              <a:gd name="connsiteX8" fmla="*/ 2792552 w 6530473"/>
              <a:gd name="connsiteY8" fmla="*/ 6725702 h 6725702"/>
              <a:gd name="connsiteX9" fmla="*/ 2779469 w 6530473"/>
              <a:gd name="connsiteY9" fmla="*/ 6712628 h 6725702"/>
              <a:gd name="connsiteX10" fmla="*/ 253920 w 6530473"/>
              <a:gd name="connsiteY10" fmla="*/ 4188679 h 6725702"/>
              <a:gd name="connsiteX11" fmla="*/ 253920 w 6530473"/>
              <a:gd name="connsiteY11" fmla="*/ 2960917 h 6725702"/>
              <a:gd name="connsiteX12" fmla="*/ 2962386 w 6530473"/>
              <a:gd name="connsiteY12" fmla="*/ 254020 h 6725702"/>
              <a:gd name="connsiteX13" fmla="*/ 3574701 w 6530473"/>
              <a:gd name="connsiteY13" fmla="*/ 0 h 6725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530473" h="6725702">
                <a:moveTo>
                  <a:pt x="3574701" y="0"/>
                </a:moveTo>
                <a:cubicBezTo>
                  <a:pt x="3796218" y="0"/>
                  <a:pt x="4017736" y="84674"/>
                  <a:pt x="4187015" y="254020"/>
                </a:cubicBezTo>
                <a:cubicBezTo>
                  <a:pt x="4187015" y="254020"/>
                  <a:pt x="4187015" y="254020"/>
                  <a:pt x="6317569" y="2385420"/>
                </a:cubicBezTo>
                <a:lnTo>
                  <a:pt x="6530473" y="2598409"/>
                </a:lnTo>
                <a:lnTo>
                  <a:pt x="6530473" y="4551187"/>
                </a:lnTo>
                <a:lnTo>
                  <a:pt x="6526176" y="4555486"/>
                </a:lnTo>
                <a:cubicBezTo>
                  <a:pt x="6497164" y="4584510"/>
                  <a:pt x="6272319" y="4809444"/>
                  <a:pt x="4529774" y="6552682"/>
                </a:cubicBezTo>
                <a:lnTo>
                  <a:pt x="4356822" y="6725702"/>
                </a:lnTo>
                <a:lnTo>
                  <a:pt x="2792552" y="6725702"/>
                </a:lnTo>
                <a:lnTo>
                  <a:pt x="2779469" y="6712628"/>
                </a:lnTo>
                <a:cubicBezTo>
                  <a:pt x="2659205" y="6592440"/>
                  <a:pt x="2178148" y="6111688"/>
                  <a:pt x="253920" y="4188679"/>
                </a:cubicBezTo>
                <a:cubicBezTo>
                  <a:pt x="-84639" y="3849986"/>
                  <a:pt x="-84639" y="3299610"/>
                  <a:pt x="253920" y="2960917"/>
                </a:cubicBezTo>
                <a:cubicBezTo>
                  <a:pt x="253920" y="2960917"/>
                  <a:pt x="253920" y="2960917"/>
                  <a:pt x="2962386" y="254020"/>
                </a:cubicBezTo>
                <a:cubicBezTo>
                  <a:pt x="3131666" y="84674"/>
                  <a:pt x="3353183" y="0"/>
                  <a:pt x="3574701" y="0"/>
                </a:cubicBezTo>
                <a:close/>
              </a:path>
            </a:pathLst>
          </a:cu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27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ark_Pill_Transition2 - IQVIA">
    <p:bg>
      <p:bgPr>
        <a:gradFill>
          <a:gsLst>
            <a:gs pos="20000">
              <a:srgbClr val="005587"/>
            </a:gs>
            <a:gs pos="80000">
              <a:srgbClr val="00A3E0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E8542230-2118-4F35-8D4D-BA4512169B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6264" y="0"/>
            <a:ext cx="7805737" cy="6858000"/>
          </a:xfrm>
          <a:custGeom>
            <a:avLst/>
            <a:gdLst>
              <a:gd name="connsiteX0" fmla="*/ 6856413 w 7805737"/>
              <a:gd name="connsiteY0" fmla="*/ 0 h 6858000"/>
              <a:gd name="connsiteX1" fmla="*/ 7805737 w 7805737"/>
              <a:gd name="connsiteY1" fmla="*/ 0 h 6858000"/>
              <a:gd name="connsiteX2" fmla="*/ 7805737 w 7805737"/>
              <a:gd name="connsiteY2" fmla="*/ 4537076 h 6858000"/>
              <a:gd name="connsiteX3" fmla="*/ 5486401 w 7805737"/>
              <a:gd name="connsiteY3" fmla="*/ 6858000 h 6858000"/>
              <a:gd name="connsiteX4" fmla="*/ 0 w 78057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5737" h="6858000">
                <a:moveTo>
                  <a:pt x="6856413" y="0"/>
                </a:moveTo>
                <a:lnTo>
                  <a:pt x="7805737" y="0"/>
                </a:lnTo>
                <a:lnTo>
                  <a:pt x="7805737" y="4537076"/>
                </a:lnTo>
                <a:lnTo>
                  <a:pt x="5486401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9FAE025-4537-4CB0-B951-A9527F5A71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628649"/>
            <a:ext cx="4954366" cy="394335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15310EE-DE2A-631D-8F9B-A33D194F77B1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2E0DAD0-C637-47E1-AF24-F5F9D0643A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  <p:sp>
        <p:nvSpPr>
          <p:cNvPr id="14" name="Freeform 6">
            <a:extLst>
              <a:ext uri="{FF2B5EF4-FFF2-40B4-BE49-F238E27FC236}">
                <a16:creationId xmlns:a16="http://schemas.microsoft.com/office/drawing/2014/main" id="{21C70CAE-1C34-4EE5-8AA5-1F7E67E38438}"/>
              </a:ext>
            </a:extLst>
          </p:cNvPr>
          <p:cNvSpPr>
            <a:spLocks/>
          </p:cNvSpPr>
          <p:nvPr userDrawn="1"/>
        </p:nvSpPr>
        <p:spPr bwMode="auto">
          <a:xfrm>
            <a:off x="10922000" y="3706813"/>
            <a:ext cx="1270000" cy="2719388"/>
          </a:xfrm>
          <a:custGeom>
            <a:avLst/>
            <a:gdLst>
              <a:gd name="T0" fmla="*/ 160 w 480"/>
              <a:gd name="T1" fmla="*/ 319 h 1028"/>
              <a:gd name="T2" fmla="*/ 160 w 480"/>
              <a:gd name="T3" fmla="*/ 901 h 1028"/>
              <a:gd name="T4" fmla="*/ 160 w 480"/>
              <a:gd name="T5" fmla="*/ 901 h 1028"/>
              <a:gd name="T6" fmla="*/ 480 w 480"/>
              <a:gd name="T7" fmla="*/ 1020 h 1028"/>
              <a:gd name="T8" fmla="*/ 480 w 480"/>
              <a:gd name="T9" fmla="*/ 0 h 1028"/>
              <a:gd name="T10" fmla="*/ 160 w 480"/>
              <a:gd name="T11" fmla="*/ 319 h 1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80" h="1028">
                <a:moveTo>
                  <a:pt x="160" y="319"/>
                </a:moveTo>
                <a:cubicBezTo>
                  <a:pt x="0" y="479"/>
                  <a:pt x="0" y="741"/>
                  <a:pt x="160" y="901"/>
                </a:cubicBezTo>
                <a:cubicBezTo>
                  <a:pt x="160" y="901"/>
                  <a:pt x="160" y="901"/>
                  <a:pt x="160" y="901"/>
                </a:cubicBezTo>
                <a:cubicBezTo>
                  <a:pt x="248" y="988"/>
                  <a:pt x="365" y="1028"/>
                  <a:pt x="480" y="1020"/>
                </a:cubicBezTo>
                <a:cubicBezTo>
                  <a:pt x="480" y="0"/>
                  <a:pt x="480" y="0"/>
                  <a:pt x="480" y="0"/>
                </a:cubicBezTo>
                <a:lnTo>
                  <a:pt x="160" y="319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Freeform 7">
            <a:extLst>
              <a:ext uri="{FF2B5EF4-FFF2-40B4-BE49-F238E27FC236}">
                <a16:creationId xmlns:a16="http://schemas.microsoft.com/office/drawing/2014/main" id="{CE943C94-8C69-41C1-9DEB-D49C80BA7E6B}"/>
              </a:ext>
            </a:extLst>
          </p:cNvPr>
          <p:cNvSpPr>
            <a:spLocks/>
          </p:cNvSpPr>
          <p:nvPr userDrawn="1"/>
        </p:nvSpPr>
        <p:spPr bwMode="auto">
          <a:xfrm>
            <a:off x="3498850" y="3409950"/>
            <a:ext cx="4984750" cy="3448050"/>
          </a:xfrm>
          <a:custGeom>
            <a:avLst/>
            <a:gdLst>
              <a:gd name="T0" fmla="*/ 1724 w 1884"/>
              <a:gd name="T1" fmla="*/ 160 h 1303"/>
              <a:gd name="T2" fmla="*/ 1143 w 1884"/>
              <a:gd name="T3" fmla="*/ 160 h 1303"/>
              <a:gd name="T4" fmla="*/ 0 w 1884"/>
              <a:gd name="T5" fmla="*/ 1303 h 1303"/>
              <a:gd name="T6" fmla="*/ 1164 w 1884"/>
              <a:gd name="T7" fmla="*/ 1303 h 1303"/>
              <a:gd name="T8" fmla="*/ 1724 w 1884"/>
              <a:gd name="T9" fmla="*/ 742 h 1303"/>
              <a:gd name="T10" fmla="*/ 1724 w 1884"/>
              <a:gd name="T11" fmla="*/ 160 h 1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84" h="1303">
                <a:moveTo>
                  <a:pt x="1724" y="160"/>
                </a:moveTo>
                <a:cubicBezTo>
                  <a:pt x="1564" y="0"/>
                  <a:pt x="1303" y="0"/>
                  <a:pt x="1143" y="160"/>
                </a:cubicBezTo>
                <a:cubicBezTo>
                  <a:pt x="0" y="1303"/>
                  <a:pt x="0" y="1303"/>
                  <a:pt x="0" y="1303"/>
                </a:cubicBezTo>
                <a:cubicBezTo>
                  <a:pt x="1164" y="1303"/>
                  <a:pt x="1164" y="1303"/>
                  <a:pt x="1164" y="1303"/>
                </a:cubicBezTo>
                <a:cubicBezTo>
                  <a:pt x="1724" y="742"/>
                  <a:pt x="1724" y="742"/>
                  <a:pt x="1724" y="742"/>
                </a:cubicBezTo>
                <a:cubicBezTo>
                  <a:pt x="1884" y="582"/>
                  <a:pt x="1884" y="320"/>
                  <a:pt x="1724" y="16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83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ark_Pill_Transition - IQVIA">
    <p:bg>
      <p:bgPr>
        <a:gradFill>
          <a:gsLst>
            <a:gs pos="20000">
              <a:srgbClr val="005587"/>
            </a:gs>
            <a:gs pos="80000">
              <a:srgbClr val="00A3E0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CB5D9F59-0F20-4E72-95E0-5E2043A9CE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32023" y="3175"/>
            <a:ext cx="9959977" cy="6851650"/>
          </a:xfrm>
          <a:custGeom>
            <a:avLst/>
            <a:gdLst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8232777 w 9959977"/>
              <a:gd name="connsiteY41" fmla="*/ 1 h 6851650"/>
              <a:gd name="connsiteX42" fmla="*/ 9550402 w 9959977"/>
              <a:gd name="connsiteY42" fmla="*/ 1 h 6851650"/>
              <a:gd name="connsiteX43" fmla="*/ 7992006 w 9959977"/>
              <a:gd name="connsiteY43" fmla="*/ 1558397 h 6851650"/>
              <a:gd name="connsiteX44" fmla="*/ 7333194 w 9959977"/>
              <a:gd name="connsiteY44" fmla="*/ 1558397 h 6851650"/>
              <a:gd name="connsiteX45" fmla="*/ 7333194 w 9959977"/>
              <a:gd name="connsiteY45" fmla="*/ 899584 h 6851650"/>
              <a:gd name="connsiteX46" fmla="*/ 8232777 w 9959977"/>
              <a:gd name="connsiteY46" fmla="*/ 1 h 6851650"/>
              <a:gd name="connsiteX47" fmla="*/ 6848850 w 9959977"/>
              <a:gd name="connsiteY47" fmla="*/ 1 h 6851650"/>
              <a:gd name="connsiteX48" fmla="*/ 8166102 w 9959977"/>
              <a:gd name="connsiteY48" fmla="*/ 1 h 6851650"/>
              <a:gd name="connsiteX49" fmla="*/ 5267089 w 9959977"/>
              <a:gd name="connsiteY49" fmla="*/ 2898839 h 6851650"/>
              <a:gd name="connsiteX50" fmla="*/ 4608463 w 9959977"/>
              <a:gd name="connsiteY50" fmla="*/ 2898839 h 6851650"/>
              <a:gd name="connsiteX51" fmla="*/ 4608463 w 9959977"/>
              <a:gd name="connsiteY51" fmla="*/ 2240253 h 6851650"/>
              <a:gd name="connsiteX52" fmla="*/ 6848850 w 9959977"/>
              <a:gd name="connsiteY52" fmla="*/ 1 h 6851650"/>
              <a:gd name="connsiteX53" fmla="*/ 5466013 w 9959977"/>
              <a:gd name="connsiteY53" fmla="*/ 1 h 6851650"/>
              <a:gd name="connsiteX54" fmla="*/ 6783390 w 9959977"/>
              <a:gd name="connsiteY54" fmla="*/ 1 h 6851650"/>
              <a:gd name="connsiteX55" fmla="*/ 4807324 w 9959977"/>
              <a:gd name="connsiteY55" fmla="*/ 1975953 h 6851650"/>
              <a:gd name="connsiteX56" fmla="*/ 4148635 w 9959977"/>
              <a:gd name="connsiteY56" fmla="*/ 1975953 h 6851650"/>
              <a:gd name="connsiteX57" fmla="*/ 4148635 w 9959977"/>
              <a:gd name="connsiteY57" fmla="*/ 1317302 h 6851650"/>
              <a:gd name="connsiteX58" fmla="*/ 5466013 w 9959977"/>
              <a:gd name="connsiteY58" fmla="*/ 1 h 6851650"/>
              <a:gd name="connsiteX59" fmla="*/ 9616109 w 9959977"/>
              <a:gd name="connsiteY59" fmla="*/ 0 h 6851650"/>
              <a:gd name="connsiteX60" fmla="*/ 9846474 w 9959977"/>
              <a:gd name="connsiteY60" fmla="*/ 0 h 6851650"/>
              <a:gd name="connsiteX61" fmla="*/ 9959977 w 9959977"/>
              <a:gd name="connsiteY61" fmla="*/ 0 h 6851650"/>
              <a:gd name="connsiteX62" fmla="*/ 9959977 w 9959977"/>
              <a:gd name="connsiteY62" fmla="*/ 973588 h 6851650"/>
              <a:gd name="connsiteX63" fmla="*/ 9958695 w 9959977"/>
              <a:gd name="connsiteY63" fmla="*/ 974871 h 6851650"/>
              <a:gd name="connsiteX64" fmla="*/ 4704076 w 9959977"/>
              <a:gd name="connsiteY64" fmla="*/ 6230423 h 6851650"/>
              <a:gd name="connsiteX65" fmla="*/ 4045435 w 9959977"/>
              <a:gd name="connsiteY65" fmla="*/ 6230423 h 6851650"/>
              <a:gd name="connsiteX66" fmla="*/ 4045435 w 9959977"/>
              <a:gd name="connsiteY66" fmla="*/ 5571665 h 6851650"/>
              <a:gd name="connsiteX67" fmla="*/ 9616109 w 9959977"/>
              <a:gd name="connsiteY67" fmla="*/ 0 h 6851650"/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9959977 w 9959977"/>
              <a:gd name="connsiteY41" fmla="*/ 1039814 h 6851650"/>
              <a:gd name="connsiteX42" fmla="*/ 8232777 w 9959977"/>
              <a:gd name="connsiteY42" fmla="*/ 1 h 6851650"/>
              <a:gd name="connsiteX43" fmla="*/ 9550402 w 9959977"/>
              <a:gd name="connsiteY43" fmla="*/ 1 h 6851650"/>
              <a:gd name="connsiteX44" fmla="*/ 7992006 w 9959977"/>
              <a:gd name="connsiteY44" fmla="*/ 1558397 h 6851650"/>
              <a:gd name="connsiteX45" fmla="*/ 7333194 w 9959977"/>
              <a:gd name="connsiteY45" fmla="*/ 1558397 h 6851650"/>
              <a:gd name="connsiteX46" fmla="*/ 7333194 w 9959977"/>
              <a:gd name="connsiteY46" fmla="*/ 899584 h 6851650"/>
              <a:gd name="connsiteX47" fmla="*/ 8232777 w 9959977"/>
              <a:gd name="connsiteY47" fmla="*/ 1 h 6851650"/>
              <a:gd name="connsiteX48" fmla="*/ 6848850 w 9959977"/>
              <a:gd name="connsiteY48" fmla="*/ 1 h 6851650"/>
              <a:gd name="connsiteX49" fmla="*/ 8166102 w 9959977"/>
              <a:gd name="connsiteY49" fmla="*/ 1 h 6851650"/>
              <a:gd name="connsiteX50" fmla="*/ 5267089 w 9959977"/>
              <a:gd name="connsiteY50" fmla="*/ 2898839 h 6851650"/>
              <a:gd name="connsiteX51" fmla="*/ 4608463 w 9959977"/>
              <a:gd name="connsiteY51" fmla="*/ 2898839 h 6851650"/>
              <a:gd name="connsiteX52" fmla="*/ 4608463 w 9959977"/>
              <a:gd name="connsiteY52" fmla="*/ 2240253 h 6851650"/>
              <a:gd name="connsiteX53" fmla="*/ 6848850 w 9959977"/>
              <a:gd name="connsiteY53" fmla="*/ 1 h 6851650"/>
              <a:gd name="connsiteX54" fmla="*/ 5466013 w 9959977"/>
              <a:gd name="connsiteY54" fmla="*/ 1 h 6851650"/>
              <a:gd name="connsiteX55" fmla="*/ 6783390 w 9959977"/>
              <a:gd name="connsiteY55" fmla="*/ 1 h 6851650"/>
              <a:gd name="connsiteX56" fmla="*/ 4807324 w 9959977"/>
              <a:gd name="connsiteY56" fmla="*/ 1975953 h 6851650"/>
              <a:gd name="connsiteX57" fmla="*/ 4148635 w 9959977"/>
              <a:gd name="connsiteY57" fmla="*/ 1317302 h 6851650"/>
              <a:gd name="connsiteX58" fmla="*/ 5466013 w 9959977"/>
              <a:gd name="connsiteY58" fmla="*/ 1 h 6851650"/>
              <a:gd name="connsiteX59" fmla="*/ 9616109 w 9959977"/>
              <a:gd name="connsiteY59" fmla="*/ 0 h 6851650"/>
              <a:gd name="connsiteX60" fmla="*/ 9846474 w 9959977"/>
              <a:gd name="connsiteY60" fmla="*/ 0 h 6851650"/>
              <a:gd name="connsiteX61" fmla="*/ 9959977 w 9959977"/>
              <a:gd name="connsiteY61" fmla="*/ 0 h 6851650"/>
              <a:gd name="connsiteX62" fmla="*/ 9959977 w 9959977"/>
              <a:gd name="connsiteY62" fmla="*/ 973588 h 6851650"/>
              <a:gd name="connsiteX63" fmla="*/ 9958695 w 9959977"/>
              <a:gd name="connsiteY63" fmla="*/ 974871 h 6851650"/>
              <a:gd name="connsiteX64" fmla="*/ 4704076 w 9959977"/>
              <a:gd name="connsiteY64" fmla="*/ 6230423 h 6851650"/>
              <a:gd name="connsiteX65" fmla="*/ 4045435 w 9959977"/>
              <a:gd name="connsiteY65" fmla="*/ 6230423 h 6851650"/>
              <a:gd name="connsiteX66" fmla="*/ 4045435 w 9959977"/>
              <a:gd name="connsiteY66" fmla="*/ 5571665 h 6851650"/>
              <a:gd name="connsiteX67" fmla="*/ 9616109 w 9959977"/>
              <a:gd name="connsiteY67" fmla="*/ 0 h 6851650"/>
              <a:gd name="connsiteX0" fmla="*/ 3684051 w 9959977"/>
              <a:gd name="connsiteY0" fmla="*/ 6224330 h 6949226"/>
              <a:gd name="connsiteX1" fmla="*/ 4014328 w 9959977"/>
              <a:gd name="connsiteY1" fmla="*/ 6359452 h 6949226"/>
              <a:gd name="connsiteX2" fmla="*/ 4108019 w 9959977"/>
              <a:gd name="connsiteY2" fmla="*/ 6884865 h 6949226"/>
              <a:gd name="connsiteX3" fmla="*/ 4070889 w 9959977"/>
              <a:gd name="connsiteY3" fmla="*/ 6949226 h 6949226"/>
              <a:gd name="connsiteX4" fmla="*/ 2767005 w 9959977"/>
              <a:gd name="connsiteY4" fmla="*/ 6949226 h 6949226"/>
              <a:gd name="connsiteX5" fmla="*/ 2769964 w 9959977"/>
              <a:gd name="connsiteY5" fmla="*/ 6946263 h 6949226"/>
              <a:gd name="connsiteX6" fmla="*/ 3355758 w 9959977"/>
              <a:gd name="connsiteY6" fmla="*/ 6359452 h 6949226"/>
              <a:gd name="connsiteX7" fmla="*/ 3684051 w 9959977"/>
              <a:gd name="connsiteY7" fmla="*/ 6224330 h 6949226"/>
              <a:gd name="connsiteX8" fmla="*/ 7314695 w 9959977"/>
              <a:gd name="connsiteY8" fmla="*/ 3976368 h 6949226"/>
              <a:gd name="connsiteX9" fmla="*/ 7644951 w 9959977"/>
              <a:gd name="connsiteY9" fmla="*/ 4111306 h 6949226"/>
              <a:gd name="connsiteX10" fmla="*/ 7644951 w 9959977"/>
              <a:gd name="connsiteY10" fmla="*/ 4770119 h 6949226"/>
              <a:gd name="connsiteX11" fmla="*/ 5658899 w 9959977"/>
              <a:gd name="connsiteY11" fmla="*/ 6757027 h 6949226"/>
              <a:gd name="connsiteX12" fmla="*/ 5466782 w 9959977"/>
              <a:gd name="connsiteY12" fmla="*/ 6949226 h 6949226"/>
              <a:gd name="connsiteX13" fmla="*/ 4149726 w 9959977"/>
              <a:gd name="connsiteY13" fmla="*/ 6949226 h 6949226"/>
              <a:gd name="connsiteX14" fmla="*/ 4162118 w 9959977"/>
              <a:gd name="connsiteY14" fmla="*/ 6936828 h 6949226"/>
              <a:gd name="connsiteX15" fmla="*/ 6986422 w 9959977"/>
              <a:gd name="connsiteY15" fmla="*/ 4111306 h 6949226"/>
              <a:gd name="connsiteX16" fmla="*/ 7314695 w 9959977"/>
              <a:gd name="connsiteY16" fmla="*/ 3976368 h 6949226"/>
              <a:gd name="connsiteX17" fmla="*/ 4241584 w 9959977"/>
              <a:gd name="connsiteY17" fmla="*/ 2901637 h 6949226"/>
              <a:gd name="connsiteX18" fmla="*/ 4569926 w 9959977"/>
              <a:gd name="connsiteY18" fmla="*/ 3036592 h 6949226"/>
              <a:gd name="connsiteX19" fmla="*/ 4569926 w 9959977"/>
              <a:gd name="connsiteY19" fmla="*/ 3695489 h 6949226"/>
              <a:gd name="connsiteX20" fmla="*/ 1607062 w 9959977"/>
              <a:gd name="connsiteY20" fmla="*/ 6659395 h 6949226"/>
              <a:gd name="connsiteX21" fmla="*/ 1317332 w 9959977"/>
              <a:gd name="connsiteY21" fmla="*/ 6949226 h 6949226"/>
              <a:gd name="connsiteX22" fmla="*/ 0 w 9959977"/>
              <a:gd name="connsiteY22" fmla="*/ 6949226 h 6949226"/>
              <a:gd name="connsiteX23" fmla="*/ 1304 w 9959977"/>
              <a:gd name="connsiteY23" fmla="*/ 6947922 h 6949226"/>
              <a:gd name="connsiteX24" fmla="*/ 3911259 w 9959977"/>
              <a:gd name="connsiteY24" fmla="*/ 3036592 h 6949226"/>
              <a:gd name="connsiteX25" fmla="*/ 4241584 w 9959977"/>
              <a:gd name="connsiteY25" fmla="*/ 2901637 h 6949226"/>
              <a:gd name="connsiteX26" fmla="*/ 6963726 w 9959977"/>
              <a:gd name="connsiteY26" fmla="*/ 1560198 h 6949226"/>
              <a:gd name="connsiteX27" fmla="*/ 7294067 w 9959977"/>
              <a:gd name="connsiteY27" fmla="*/ 1695149 h 6949226"/>
              <a:gd name="connsiteX28" fmla="*/ 7294067 w 9959977"/>
              <a:gd name="connsiteY28" fmla="*/ 2354025 h 6949226"/>
              <a:gd name="connsiteX29" fmla="*/ 3111703 w 9959977"/>
              <a:gd name="connsiteY29" fmla="*/ 6537522 h 6949226"/>
              <a:gd name="connsiteX30" fmla="*/ 2700111 w 9959977"/>
              <a:gd name="connsiteY30" fmla="*/ 6949226 h 6949226"/>
              <a:gd name="connsiteX31" fmla="*/ 1382715 w 9959977"/>
              <a:gd name="connsiteY31" fmla="*/ 6949226 h 6949226"/>
              <a:gd name="connsiteX32" fmla="*/ 1386637 w 9959977"/>
              <a:gd name="connsiteY32" fmla="*/ 6945303 h 6949226"/>
              <a:gd name="connsiteX33" fmla="*/ 6635369 w 9959977"/>
              <a:gd name="connsiteY33" fmla="*/ 1695149 h 6949226"/>
              <a:gd name="connsiteX34" fmla="*/ 6963726 w 9959977"/>
              <a:gd name="connsiteY34" fmla="*/ 1560198 h 6949226"/>
              <a:gd name="connsiteX35" fmla="*/ 9959977 w 9959977"/>
              <a:gd name="connsiteY35" fmla="*/ 1137390 h 6949226"/>
              <a:gd name="connsiteX36" fmla="*/ 9959977 w 9959977"/>
              <a:gd name="connsiteY36" fmla="*/ 2455015 h 6949226"/>
              <a:gd name="connsiteX37" fmla="*/ 9956795 w 9959977"/>
              <a:gd name="connsiteY37" fmla="*/ 2458197 h 6949226"/>
              <a:gd name="connsiteX38" fmla="*/ 8330144 w 9959977"/>
              <a:gd name="connsiteY38" fmla="*/ 4084847 h 6949226"/>
              <a:gd name="connsiteX39" fmla="*/ 7671332 w 9959977"/>
              <a:gd name="connsiteY39" fmla="*/ 4084847 h 6949226"/>
              <a:gd name="connsiteX40" fmla="*/ 7671332 w 9959977"/>
              <a:gd name="connsiteY40" fmla="*/ 3426035 h 6949226"/>
              <a:gd name="connsiteX41" fmla="*/ 9959977 w 9959977"/>
              <a:gd name="connsiteY41" fmla="*/ 1137390 h 6949226"/>
              <a:gd name="connsiteX42" fmla="*/ 8232777 w 9959977"/>
              <a:gd name="connsiteY42" fmla="*/ 97577 h 6949226"/>
              <a:gd name="connsiteX43" fmla="*/ 9550402 w 9959977"/>
              <a:gd name="connsiteY43" fmla="*/ 97577 h 6949226"/>
              <a:gd name="connsiteX44" fmla="*/ 7992006 w 9959977"/>
              <a:gd name="connsiteY44" fmla="*/ 1655973 h 6949226"/>
              <a:gd name="connsiteX45" fmla="*/ 7333194 w 9959977"/>
              <a:gd name="connsiteY45" fmla="*/ 1655973 h 6949226"/>
              <a:gd name="connsiteX46" fmla="*/ 7333194 w 9959977"/>
              <a:gd name="connsiteY46" fmla="*/ 997160 h 6949226"/>
              <a:gd name="connsiteX47" fmla="*/ 8232777 w 9959977"/>
              <a:gd name="connsiteY47" fmla="*/ 97577 h 6949226"/>
              <a:gd name="connsiteX48" fmla="*/ 6848850 w 9959977"/>
              <a:gd name="connsiteY48" fmla="*/ 97577 h 6949226"/>
              <a:gd name="connsiteX49" fmla="*/ 8166102 w 9959977"/>
              <a:gd name="connsiteY49" fmla="*/ 97577 h 6949226"/>
              <a:gd name="connsiteX50" fmla="*/ 5267089 w 9959977"/>
              <a:gd name="connsiteY50" fmla="*/ 2996415 h 6949226"/>
              <a:gd name="connsiteX51" fmla="*/ 4608463 w 9959977"/>
              <a:gd name="connsiteY51" fmla="*/ 2996415 h 6949226"/>
              <a:gd name="connsiteX52" fmla="*/ 4608463 w 9959977"/>
              <a:gd name="connsiteY52" fmla="*/ 2337829 h 6949226"/>
              <a:gd name="connsiteX53" fmla="*/ 6848850 w 9959977"/>
              <a:gd name="connsiteY53" fmla="*/ 97577 h 6949226"/>
              <a:gd name="connsiteX54" fmla="*/ 5466013 w 9959977"/>
              <a:gd name="connsiteY54" fmla="*/ 97577 h 6949226"/>
              <a:gd name="connsiteX55" fmla="*/ 6783390 w 9959977"/>
              <a:gd name="connsiteY55" fmla="*/ 97577 h 6949226"/>
              <a:gd name="connsiteX56" fmla="*/ 4148635 w 9959977"/>
              <a:gd name="connsiteY56" fmla="*/ 1414878 h 6949226"/>
              <a:gd name="connsiteX57" fmla="*/ 5466013 w 9959977"/>
              <a:gd name="connsiteY57" fmla="*/ 97577 h 6949226"/>
              <a:gd name="connsiteX58" fmla="*/ 9616109 w 9959977"/>
              <a:gd name="connsiteY58" fmla="*/ 97576 h 6949226"/>
              <a:gd name="connsiteX59" fmla="*/ 9846474 w 9959977"/>
              <a:gd name="connsiteY59" fmla="*/ 97576 h 6949226"/>
              <a:gd name="connsiteX60" fmla="*/ 9959977 w 9959977"/>
              <a:gd name="connsiteY60" fmla="*/ 97576 h 6949226"/>
              <a:gd name="connsiteX61" fmla="*/ 9959977 w 9959977"/>
              <a:gd name="connsiteY61" fmla="*/ 1071164 h 6949226"/>
              <a:gd name="connsiteX62" fmla="*/ 9958695 w 9959977"/>
              <a:gd name="connsiteY62" fmla="*/ 1072447 h 6949226"/>
              <a:gd name="connsiteX63" fmla="*/ 4704076 w 9959977"/>
              <a:gd name="connsiteY63" fmla="*/ 6327999 h 6949226"/>
              <a:gd name="connsiteX64" fmla="*/ 4045435 w 9959977"/>
              <a:gd name="connsiteY64" fmla="*/ 6327999 h 6949226"/>
              <a:gd name="connsiteX65" fmla="*/ 4045435 w 9959977"/>
              <a:gd name="connsiteY65" fmla="*/ 5669241 h 6949226"/>
              <a:gd name="connsiteX66" fmla="*/ 9616109 w 9959977"/>
              <a:gd name="connsiteY66" fmla="*/ 97576 h 6949226"/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9959977 w 9959977"/>
              <a:gd name="connsiteY41" fmla="*/ 1039814 h 6851650"/>
              <a:gd name="connsiteX42" fmla="*/ 8232777 w 9959977"/>
              <a:gd name="connsiteY42" fmla="*/ 1 h 6851650"/>
              <a:gd name="connsiteX43" fmla="*/ 9550402 w 9959977"/>
              <a:gd name="connsiteY43" fmla="*/ 1 h 6851650"/>
              <a:gd name="connsiteX44" fmla="*/ 7992006 w 9959977"/>
              <a:gd name="connsiteY44" fmla="*/ 1558397 h 6851650"/>
              <a:gd name="connsiteX45" fmla="*/ 7333194 w 9959977"/>
              <a:gd name="connsiteY45" fmla="*/ 1558397 h 6851650"/>
              <a:gd name="connsiteX46" fmla="*/ 7333194 w 9959977"/>
              <a:gd name="connsiteY46" fmla="*/ 899584 h 6851650"/>
              <a:gd name="connsiteX47" fmla="*/ 8232777 w 9959977"/>
              <a:gd name="connsiteY47" fmla="*/ 1 h 6851650"/>
              <a:gd name="connsiteX48" fmla="*/ 6848850 w 9959977"/>
              <a:gd name="connsiteY48" fmla="*/ 1 h 6851650"/>
              <a:gd name="connsiteX49" fmla="*/ 8166102 w 9959977"/>
              <a:gd name="connsiteY49" fmla="*/ 1 h 6851650"/>
              <a:gd name="connsiteX50" fmla="*/ 5267089 w 9959977"/>
              <a:gd name="connsiteY50" fmla="*/ 2898839 h 6851650"/>
              <a:gd name="connsiteX51" fmla="*/ 4608463 w 9959977"/>
              <a:gd name="connsiteY51" fmla="*/ 2898839 h 6851650"/>
              <a:gd name="connsiteX52" fmla="*/ 4608463 w 9959977"/>
              <a:gd name="connsiteY52" fmla="*/ 2240253 h 6851650"/>
              <a:gd name="connsiteX53" fmla="*/ 6848850 w 9959977"/>
              <a:gd name="connsiteY53" fmla="*/ 1 h 6851650"/>
              <a:gd name="connsiteX54" fmla="*/ 5466013 w 9959977"/>
              <a:gd name="connsiteY54" fmla="*/ 1 h 6851650"/>
              <a:gd name="connsiteX55" fmla="*/ 6783390 w 9959977"/>
              <a:gd name="connsiteY55" fmla="*/ 1 h 6851650"/>
              <a:gd name="connsiteX56" fmla="*/ 5466013 w 9959977"/>
              <a:gd name="connsiteY56" fmla="*/ 1 h 6851650"/>
              <a:gd name="connsiteX57" fmla="*/ 9616109 w 9959977"/>
              <a:gd name="connsiteY57" fmla="*/ 0 h 6851650"/>
              <a:gd name="connsiteX58" fmla="*/ 9846474 w 9959977"/>
              <a:gd name="connsiteY58" fmla="*/ 0 h 6851650"/>
              <a:gd name="connsiteX59" fmla="*/ 9959977 w 9959977"/>
              <a:gd name="connsiteY59" fmla="*/ 0 h 6851650"/>
              <a:gd name="connsiteX60" fmla="*/ 9959977 w 9959977"/>
              <a:gd name="connsiteY60" fmla="*/ 973588 h 6851650"/>
              <a:gd name="connsiteX61" fmla="*/ 9958695 w 9959977"/>
              <a:gd name="connsiteY61" fmla="*/ 974871 h 6851650"/>
              <a:gd name="connsiteX62" fmla="*/ 4704076 w 9959977"/>
              <a:gd name="connsiteY62" fmla="*/ 6230423 h 6851650"/>
              <a:gd name="connsiteX63" fmla="*/ 4045435 w 9959977"/>
              <a:gd name="connsiteY63" fmla="*/ 6230423 h 6851650"/>
              <a:gd name="connsiteX64" fmla="*/ 4045435 w 9959977"/>
              <a:gd name="connsiteY64" fmla="*/ 5571665 h 6851650"/>
              <a:gd name="connsiteX65" fmla="*/ 9616109 w 9959977"/>
              <a:gd name="connsiteY65" fmla="*/ 0 h 6851650"/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9959977 w 9959977"/>
              <a:gd name="connsiteY41" fmla="*/ 1039814 h 6851650"/>
              <a:gd name="connsiteX42" fmla="*/ 8232777 w 9959977"/>
              <a:gd name="connsiteY42" fmla="*/ 1 h 6851650"/>
              <a:gd name="connsiteX43" fmla="*/ 9550402 w 9959977"/>
              <a:gd name="connsiteY43" fmla="*/ 1 h 6851650"/>
              <a:gd name="connsiteX44" fmla="*/ 7992006 w 9959977"/>
              <a:gd name="connsiteY44" fmla="*/ 1558397 h 6851650"/>
              <a:gd name="connsiteX45" fmla="*/ 7333194 w 9959977"/>
              <a:gd name="connsiteY45" fmla="*/ 1558397 h 6851650"/>
              <a:gd name="connsiteX46" fmla="*/ 7333194 w 9959977"/>
              <a:gd name="connsiteY46" fmla="*/ 899584 h 6851650"/>
              <a:gd name="connsiteX47" fmla="*/ 8232777 w 9959977"/>
              <a:gd name="connsiteY47" fmla="*/ 1 h 6851650"/>
              <a:gd name="connsiteX48" fmla="*/ 6848850 w 9959977"/>
              <a:gd name="connsiteY48" fmla="*/ 1 h 6851650"/>
              <a:gd name="connsiteX49" fmla="*/ 8166102 w 9959977"/>
              <a:gd name="connsiteY49" fmla="*/ 1 h 6851650"/>
              <a:gd name="connsiteX50" fmla="*/ 5267089 w 9959977"/>
              <a:gd name="connsiteY50" fmla="*/ 2898839 h 6851650"/>
              <a:gd name="connsiteX51" fmla="*/ 4608463 w 9959977"/>
              <a:gd name="connsiteY51" fmla="*/ 2898839 h 6851650"/>
              <a:gd name="connsiteX52" fmla="*/ 4608463 w 9959977"/>
              <a:gd name="connsiteY52" fmla="*/ 2240253 h 6851650"/>
              <a:gd name="connsiteX53" fmla="*/ 6848850 w 9959977"/>
              <a:gd name="connsiteY53" fmla="*/ 1 h 6851650"/>
              <a:gd name="connsiteX54" fmla="*/ 9616109 w 9959977"/>
              <a:gd name="connsiteY54" fmla="*/ 0 h 6851650"/>
              <a:gd name="connsiteX55" fmla="*/ 9846474 w 9959977"/>
              <a:gd name="connsiteY55" fmla="*/ 0 h 6851650"/>
              <a:gd name="connsiteX56" fmla="*/ 9959977 w 9959977"/>
              <a:gd name="connsiteY56" fmla="*/ 0 h 6851650"/>
              <a:gd name="connsiteX57" fmla="*/ 9959977 w 9959977"/>
              <a:gd name="connsiteY57" fmla="*/ 973588 h 6851650"/>
              <a:gd name="connsiteX58" fmla="*/ 9958695 w 9959977"/>
              <a:gd name="connsiteY58" fmla="*/ 974871 h 6851650"/>
              <a:gd name="connsiteX59" fmla="*/ 4704076 w 9959977"/>
              <a:gd name="connsiteY59" fmla="*/ 6230423 h 6851650"/>
              <a:gd name="connsiteX60" fmla="*/ 4045435 w 9959977"/>
              <a:gd name="connsiteY60" fmla="*/ 6230423 h 6851650"/>
              <a:gd name="connsiteX61" fmla="*/ 4045435 w 9959977"/>
              <a:gd name="connsiteY61" fmla="*/ 5571665 h 6851650"/>
              <a:gd name="connsiteX62" fmla="*/ 9616109 w 9959977"/>
              <a:gd name="connsiteY62" fmla="*/ 0 h 685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9959977" h="6851650">
                <a:moveTo>
                  <a:pt x="3684051" y="6126754"/>
                </a:moveTo>
                <a:cubicBezTo>
                  <a:pt x="3803400" y="6126754"/>
                  <a:pt x="3923080" y="6171795"/>
                  <a:pt x="4014328" y="6261876"/>
                </a:cubicBezTo>
                <a:cubicBezTo>
                  <a:pt x="4155497" y="6403290"/>
                  <a:pt x="4187318" y="6615701"/>
                  <a:pt x="4108019" y="6787289"/>
                </a:cubicBezTo>
                <a:lnTo>
                  <a:pt x="4070889" y="6851650"/>
                </a:lnTo>
                <a:lnTo>
                  <a:pt x="2767005" y="6851650"/>
                </a:lnTo>
                <a:lnTo>
                  <a:pt x="2769964" y="6848687"/>
                </a:lnTo>
                <a:lnTo>
                  <a:pt x="3355758" y="6261876"/>
                </a:lnTo>
                <a:cubicBezTo>
                  <a:pt x="3445683" y="6171795"/>
                  <a:pt x="3564702" y="6126754"/>
                  <a:pt x="3684051" y="6126754"/>
                </a:cubicBezTo>
                <a:close/>
                <a:moveTo>
                  <a:pt x="7314695" y="3878792"/>
                </a:moveTo>
                <a:cubicBezTo>
                  <a:pt x="7434037" y="3878792"/>
                  <a:pt x="7553709" y="3923771"/>
                  <a:pt x="7644951" y="4013730"/>
                </a:cubicBezTo>
                <a:cubicBezTo>
                  <a:pt x="7824790" y="4196292"/>
                  <a:pt x="7824790" y="4492626"/>
                  <a:pt x="7644951" y="4672543"/>
                </a:cubicBezTo>
                <a:lnTo>
                  <a:pt x="5658899" y="6659451"/>
                </a:lnTo>
                <a:lnTo>
                  <a:pt x="5466782" y="6851650"/>
                </a:lnTo>
                <a:lnTo>
                  <a:pt x="4149726" y="6851650"/>
                </a:lnTo>
                <a:lnTo>
                  <a:pt x="4162118" y="6839252"/>
                </a:lnTo>
                <a:lnTo>
                  <a:pt x="6986422" y="4013730"/>
                </a:lnTo>
                <a:cubicBezTo>
                  <a:pt x="7076342" y="3923771"/>
                  <a:pt x="7195353" y="3878792"/>
                  <a:pt x="7314695" y="3878792"/>
                </a:cubicBezTo>
                <a:close/>
                <a:moveTo>
                  <a:pt x="4241584" y="2804061"/>
                </a:moveTo>
                <a:cubicBezTo>
                  <a:pt x="4360951" y="2804061"/>
                  <a:pt x="4479987" y="2849046"/>
                  <a:pt x="4569926" y="2939016"/>
                </a:cubicBezTo>
                <a:cubicBezTo>
                  <a:pt x="4749802" y="3121602"/>
                  <a:pt x="4749802" y="3417973"/>
                  <a:pt x="4569926" y="3597913"/>
                </a:cubicBezTo>
                <a:lnTo>
                  <a:pt x="1607062" y="6561819"/>
                </a:lnTo>
                <a:lnTo>
                  <a:pt x="1317332" y="6851650"/>
                </a:lnTo>
                <a:lnTo>
                  <a:pt x="0" y="6851650"/>
                </a:lnTo>
                <a:lnTo>
                  <a:pt x="1304" y="6850346"/>
                </a:lnTo>
                <a:lnTo>
                  <a:pt x="3911259" y="2939016"/>
                </a:lnTo>
                <a:cubicBezTo>
                  <a:pt x="4002521" y="2849046"/>
                  <a:pt x="4122218" y="2804061"/>
                  <a:pt x="4241584" y="2804061"/>
                </a:cubicBezTo>
                <a:close/>
                <a:moveTo>
                  <a:pt x="6963726" y="1462622"/>
                </a:moveTo>
                <a:cubicBezTo>
                  <a:pt x="7083099" y="1462622"/>
                  <a:pt x="7202802" y="1507606"/>
                  <a:pt x="7294067" y="1597573"/>
                </a:cubicBezTo>
                <a:cubicBezTo>
                  <a:pt x="7473953" y="1780153"/>
                  <a:pt x="7473953" y="2076515"/>
                  <a:pt x="7294067" y="2256449"/>
                </a:cubicBezTo>
                <a:lnTo>
                  <a:pt x="3111703" y="6439946"/>
                </a:lnTo>
                <a:lnTo>
                  <a:pt x="2700111" y="6851650"/>
                </a:lnTo>
                <a:lnTo>
                  <a:pt x="1382715" y="6851650"/>
                </a:lnTo>
                <a:lnTo>
                  <a:pt x="1386637" y="6847727"/>
                </a:lnTo>
                <a:lnTo>
                  <a:pt x="6635369" y="1597573"/>
                </a:lnTo>
                <a:cubicBezTo>
                  <a:pt x="6725312" y="1507606"/>
                  <a:pt x="6844354" y="1462622"/>
                  <a:pt x="6963726" y="1462622"/>
                </a:cubicBezTo>
                <a:close/>
                <a:moveTo>
                  <a:pt x="9959977" y="1039814"/>
                </a:moveTo>
                <a:lnTo>
                  <a:pt x="9959977" y="2357439"/>
                </a:lnTo>
                <a:lnTo>
                  <a:pt x="9956795" y="2360621"/>
                </a:lnTo>
                <a:lnTo>
                  <a:pt x="8330144" y="3987271"/>
                </a:lnTo>
                <a:cubicBezTo>
                  <a:pt x="8150228" y="4167188"/>
                  <a:pt x="7851248" y="4167188"/>
                  <a:pt x="7671332" y="3987271"/>
                </a:cubicBezTo>
                <a:cubicBezTo>
                  <a:pt x="7491415" y="3807355"/>
                  <a:pt x="7491415" y="3511021"/>
                  <a:pt x="7671332" y="3328459"/>
                </a:cubicBezTo>
                <a:lnTo>
                  <a:pt x="9959977" y="1039814"/>
                </a:lnTo>
                <a:close/>
                <a:moveTo>
                  <a:pt x="8232777" y="1"/>
                </a:moveTo>
                <a:lnTo>
                  <a:pt x="9550402" y="1"/>
                </a:lnTo>
                <a:lnTo>
                  <a:pt x="7992006" y="1558397"/>
                </a:lnTo>
                <a:cubicBezTo>
                  <a:pt x="7812089" y="1738314"/>
                  <a:pt x="7513110" y="1738314"/>
                  <a:pt x="7333194" y="1558397"/>
                </a:cubicBezTo>
                <a:cubicBezTo>
                  <a:pt x="7153277" y="1378480"/>
                  <a:pt x="7153277" y="1082147"/>
                  <a:pt x="7333194" y="899584"/>
                </a:cubicBezTo>
                <a:lnTo>
                  <a:pt x="8232777" y="1"/>
                </a:lnTo>
                <a:close/>
                <a:moveTo>
                  <a:pt x="6848850" y="1"/>
                </a:moveTo>
                <a:lnTo>
                  <a:pt x="8166102" y="1"/>
                </a:lnTo>
                <a:lnTo>
                  <a:pt x="5267089" y="2898839"/>
                </a:lnTo>
                <a:cubicBezTo>
                  <a:pt x="5084578" y="3081339"/>
                  <a:pt x="4788329" y="3081339"/>
                  <a:pt x="4608463" y="2898839"/>
                </a:cubicBezTo>
                <a:cubicBezTo>
                  <a:pt x="4425952" y="2718983"/>
                  <a:pt x="4425952" y="2422752"/>
                  <a:pt x="4608463" y="2240253"/>
                </a:cubicBezTo>
                <a:lnTo>
                  <a:pt x="6848850" y="1"/>
                </a:lnTo>
                <a:close/>
                <a:moveTo>
                  <a:pt x="9616109" y="0"/>
                </a:moveTo>
                <a:lnTo>
                  <a:pt x="9846474" y="0"/>
                </a:lnTo>
                <a:lnTo>
                  <a:pt x="9959977" y="0"/>
                </a:lnTo>
                <a:lnTo>
                  <a:pt x="9959977" y="973588"/>
                </a:lnTo>
                <a:lnTo>
                  <a:pt x="9958695" y="974871"/>
                </a:lnTo>
                <a:lnTo>
                  <a:pt x="4704076" y="6230423"/>
                </a:lnTo>
                <a:cubicBezTo>
                  <a:pt x="4524206" y="6410325"/>
                  <a:pt x="4227950" y="6410325"/>
                  <a:pt x="4045435" y="6230423"/>
                </a:cubicBezTo>
                <a:cubicBezTo>
                  <a:pt x="3865565" y="6047876"/>
                  <a:pt x="3865565" y="5751567"/>
                  <a:pt x="4045435" y="5571665"/>
                </a:cubicBezTo>
                <a:lnTo>
                  <a:pt x="9616109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6175" y="5762798"/>
            <a:ext cx="2247900" cy="4064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D1012A8-A101-43B4-8E0C-3EA5BF2FF5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7" y="628649"/>
            <a:ext cx="4954367" cy="396716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7A1145C-6DFB-CE0C-121D-56EE9F47F2FF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75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Light_Pill_Transition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D171F091-2361-4553-AFAD-4034FA58511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24189" y="0"/>
            <a:ext cx="9164637" cy="6858000"/>
          </a:xfrm>
          <a:custGeom>
            <a:avLst/>
            <a:gdLst>
              <a:gd name="connsiteX0" fmla="*/ 6317672 w 9164637"/>
              <a:gd name="connsiteY0" fmla="*/ 5860023 h 6858000"/>
              <a:gd name="connsiteX1" fmla="*/ 6760367 w 9164637"/>
              <a:gd name="connsiteY1" fmla="*/ 6042677 h 6858000"/>
              <a:gd name="connsiteX2" fmla="*/ 6879139 w 9164637"/>
              <a:gd name="connsiteY2" fmla="*/ 6761298 h 6858000"/>
              <a:gd name="connsiteX3" fmla="*/ 6821155 w 9164637"/>
              <a:gd name="connsiteY3" fmla="*/ 6858000 h 6858000"/>
              <a:gd name="connsiteX4" fmla="*/ 5060951 w 9164637"/>
              <a:gd name="connsiteY4" fmla="*/ 6858000 h 6858000"/>
              <a:gd name="connsiteX5" fmla="*/ 5062540 w 9164637"/>
              <a:gd name="connsiteY5" fmla="*/ 6856409 h 6858000"/>
              <a:gd name="connsiteX6" fmla="*/ 5874978 w 9164637"/>
              <a:gd name="connsiteY6" fmla="*/ 6042677 h 6858000"/>
              <a:gd name="connsiteX7" fmla="*/ 6317672 w 9164637"/>
              <a:gd name="connsiteY7" fmla="*/ 5860023 h 6858000"/>
              <a:gd name="connsiteX8" fmla="*/ 9164637 w 9164637"/>
              <a:gd name="connsiteY8" fmla="*/ 2754314 h 6858000"/>
              <a:gd name="connsiteX9" fmla="*/ 9164637 w 9164637"/>
              <a:gd name="connsiteY9" fmla="*/ 4521730 h 6858000"/>
              <a:gd name="connsiteX10" fmla="*/ 7670947 w 9164637"/>
              <a:gd name="connsiteY10" fmla="*/ 6016626 h 6858000"/>
              <a:gd name="connsiteX11" fmla="*/ 6785307 w 9164637"/>
              <a:gd name="connsiteY11" fmla="*/ 6016626 h 6858000"/>
              <a:gd name="connsiteX12" fmla="*/ 6785307 w 9164637"/>
              <a:gd name="connsiteY12" fmla="*/ 5130271 h 6858000"/>
              <a:gd name="connsiteX13" fmla="*/ 9127625 w 9164637"/>
              <a:gd name="connsiteY13" fmla="*/ 2786063 h 6858000"/>
              <a:gd name="connsiteX14" fmla="*/ 9164637 w 9164637"/>
              <a:gd name="connsiteY14" fmla="*/ 2754314 h 6858000"/>
              <a:gd name="connsiteX15" fmla="*/ 6292160 w 9164637"/>
              <a:gd name="connsiteY15" fmla="*/ 823516 h 6858000"/>
              <a:gd name="connsiteX16" fmla="*/ 6735270 w 9164637"/>
              <a:gd name="connsiteY16" fmla="*/ 1008063 h 6858000"/>
              <a:gd name="connsiteX17" fmla="*/ 6735270 w 9164637"/>
              <a:gd name="connsiteY17" fmla="*/ 1894417 h 6858000"/>
              <a:gd name="connsiteX18" fmla="*/ 1772439 w 9164637"/>
              <a:gd name="connsiteY18" fmla="*/ 6858000 h 6858000"/>
              <a:gd name="connsiteX19" fmla="*/ 1768978 w 9164637"/>
              <a:gd name="connsiteY19" fmla="*/ 6858000 h 6858000"/>
              <a:gd name="connsiteX20" fmla="*/ 1760756 w 9164637"/>
              <a:gd name="connsiteY20" fmla="*/ 6858000 h 6858000"/>
              <a:gd name="connsiteX21" fmla="*/ 1744745 w 9164637"/>
              <a:gd name="connsiteY21" fmla="*/ 6858000 h 6858000"/>
              <a:gd name="connsiteX22" fmla="*/ 1718349 w 9164637"/>
              <a:gd name="connsiteY22" fmla="*/ 6858000 h 6858000"/>
              <a:gd name="connsiteX23" fmla="*/ 1678971 w 9164637"/>
              <a:gd name="connsiteY23" fmla="*/ 6858000 h 6858000"/>
              <a:gd name="connsiteX24" fmla="*/ 1624015 w 9164637"/>
              <a:gd name="connsiteY24" fmla="*/ 6858000 h 6858000"/>
              <a:gd name="connsiteX25" fmla="*/ 1550885 w 9164637"/>
              <a:gd name="connsiteY25" fmla="*/ 6858000 h 6858000"/>
              <a:gd name="connsiteX26" fmla="*/ 1456983 w 9164637"/>
              <a:gd name="connsiteY26" fmla="*/ 6858000 h 6858000"/>
              <a:gd name="connsiteX27" fmla="*/ 1339715 w 9164637"/>
              <a:gd name="connsiteY27" fmla="*/ 6858000 h 6858000"/>
              <a:gd name="connsiteX28" fmla="*/ 1196483 w 9164637"/>
              <a:gd name="connsiteY28" fmla="*/ 6858000 h 6858000"/>
              <a:gd name="connsiteX29" fmla="*/ 1024692 w 9164637"/>
              <a:gd name="connsiteY29" fmla="*/ 6858000 h 6858000"/>
              <a:gd name="connsiteX30" fmla="*/ 821744 w 9164637"/>
              <a:gd name="connsiteY30" fmla="*/ 6858000 h 6858000"/>
              <a:gd name="connsiteX31" fmla="*/ 585044 w 9164637"/>
              <a:gd name="connsiteY31" fmla="*/ 6858000 h 6858000"/>
              <a:gd name="connsiteX32" fmla="*/ 311995 w 9164637"/>
              <a:gd name="connsiteY32" fmla="*/ 6858000 h 6858000"/>
              <a:gd name="connsiteX33" fmla="*/ 161028 w 9164637"/>
              <a:gd name="connsiteY33" fmla="*/ 6858000 h 6858000"/>
              <a:gd name="connsiteX34" fmla="*/ 0 w 9164637"/>
              <a:gd name="connsiteY34" fmla="*/ 6858000 h 6858000"/>
              <a:gd name="connsiteX35" fmla="*/ 5849050 w 9164637"/>
              <a:gd name="connsiteY35" fmla="*/ 1008063 h 6858000"/>
              <a:gd name="connsiteX36" fmla="*/ 6292160 w 9164637"/>
              <a:gd name="connsiteY36" fmla="*/ 823516 h 6858000"/>
              <a:gd name="connsiteX37" fmla="*/ 8694737 w 9164637"/>
              <a:gd name="connsiteY37" fmla="*/ 0 h 6858000"/>
              <a:gd name="connsiteX38" fmla="*/ 9164637 w 9164637"/>
              <a:gd name="connsiteY38" fmla="*/ 0 h 6858000"/>
              <a:gd name="connsiteX39" fmla="*/ 9164637 w 9164637"/>
              <a:gd name="connsiteY39" fmla="*/ 2686050 h 6858000"/>
              <a:gd name="connsiteX40" fmla="*/ 4997450 w 9164637"/>
              <a:gd name="connsiteY40" fmla="*/ 6858000 h 6858000"/>
              <a:gd name="connsiteX41" fmla="*/ 1838325 w 9164637"/>
              <a:gd name="connsiteY41" fmla="*/ 6858000 h 6858000"/>
              <a:gd name="connsiteX42" fmla="*/ 6856244 w 9164637"/>
              <a:gd name="connsiteY42" fmla="*/ 0 h 6858000"/>
              <a:gd name="connsiteX43" fmla="*/ 6859705 w 9164637"/>
              <a:gd name="connsiteY43" fmla="*/ 0 h 6858000"/>
              <a:gd name="connsiteX44" fmla="*/ 6867923 w 9164637"/>
              <a:gd name="connsiteY44" fmla="*/ 0 h 6858000"/>
              <a:gd name="connsiteX45" fmla="*/ 6883929 w 9164637"/>
              <a:gd name="connsiteY45" fmla="*/ 0 h 6858000"/>
              <a:gd name="connsiteX46" fmla="*/ 6910316 w 9164637"/>
              <a:gd name="connsiteY46" fmla="*/ 0 h 6858000"/>
              <a:gd name="connsiteX47" fmla="*/ 6949680 w 9164637"/>
              <a:gd name="connsiteY47" fmla="*/ 0 h 6858000"/>
              <a:gd name="connsiteX48" fmla="*/ 7004616 w 9164637"/>
              <a:gd name="connsiteY48" fmla="*/ 0 h 6858000"/>
              <a:gd name="connsiteX49" fmla="*/ 7077721 w 9164637"/>
              <a:gd name="connsiteY49" fmla="*/ 0 h 6858000"/>
              <a:gd name="connsiteX50" fmla="*/ 7171590 w 9164637"/>
              <a:gd name="connsiteY50" fmla="*/ 0 h 6858000"/>
              <a:gd name="connsiteX51" fmla="*/ 7288817 w 9164637"/>
              <a:gd name="connsiteY51" fmla="*/ 0 h 6858000"/>
              <a:gd name="connsiteX52" fmla="*/ 7431998 w 9164637"/>
              <a:gd name="connsiteY52" fmla="*/ 0 h 6858000"/>
              <a:gd name="connsiteX53" fmla="*/ 7603730 w 9164637"/>
              <a:gd name="connsiteY53" fmla="*/ 0 h 6858000"/>
              <a:gd name="connsiteX54" fmla="*/ 7806606 w 9164637"/>
              <a:gd name="connsiteY54" fmla="*/ 0 h 6858000"/>
              <a:gd name="connsiteX55" fmla="*/ 8043224 w 9164637"/>
              <a:gd name="connsiteY55" fmla="*/ 0 h 6858000"/>
              <a:gd name="connsiteX56" fmla="*/ 8316177 w 9164637"/>
              <a:gd name="connsiteY56" fmla="*/ 0 h 6858000"/>
              <a:gd name="connsiteX57" fmla="*/ 8467091 w 9164637"/>
              <a:gd name="connsiteY57" fmla="*/ 0 h 6858000"/>
              <a:gd name="connsiteX58" fmla="*/ 8628062 w 9164637"/>
              <a:gd name="connsiteY58" fmla="*/ 0 h 6858000"/>
              <a:gd name="connsiteX59" fmla="*/ 7652240 w 9164637"/>
              <a:gd name="connsiteY59" fmla="*/ 973244 h 6858000"/>
              <a:gd name="connsiteX60" fmla="*/ 6766331 w 9164637"/>
              <a:gd name="connsiteY60" fmla="*/ 973244 h 6858000"/>
              <a:gd name="connsiteX61" fmla="*/ 6766331 w 9164637"/>
              <a:gd name="connsiteY61" fmla="*/ 87275 h 6858000"/>
              <a:gd name="connsiteX62" fmla="*/ 6856244 w 9164637"/>
              <a:gd name="connsiteY6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9164637" h="6858000">
                <a:moveTo>
                  <a:pt x="6317672" y="5860023"/>
                </a:moveTo>
                <a:cubicBezTo>
                  <a:pt x="6478232" y="5860023"/>
                  <a:pt x="6638791" y="5920907"/>
                  <a:pt x="6760367" y="6042677"/>
                </a:cubicBezTo>
                <a:cubicBezTo>
                  <a:pt x="6952310" y="6234927"/>
                  <a:pt x="6992492" y="6526487"/>
                  <a:pt x="6879139" y="6761298"/>
                </a:cubicBezTo>
                <a:lnTo>
                  <a:pt x="6821155" y="6858000"/>
                </a:lnTo>
                <a:lnTo>
                  <a:pt x="5060951" y="6858000"/>
                </a:lnTo>
                <a:lnTo>
                  <a:pt x="5062540" y="6856409"/>
                </a:lnTo>
                <a:cubicBezTo>
                  <a:pt x="5073669" y="6845262"/>
                  <a:pt x="5162704" y="6756086"/>
                  <a:pt x="5874978" y="6042677"/>
                </a:cubicBezTo>
                <a:cubicBezTo>
                  <a:pt x="5996554" y="5920907"/>
                  <a:pt x="6157113" y="5860023"/>
                  <a:pt x="6317672" y="5860023"/>
                </a:cubicBezTo>
                <a:close/>
                <a:moveTo>
                  <a:pt x="9164637" y="2754314"/>
                </a:moveTo>
                <a:cubicBezTo>
                  <a:pt x="9164637" y="2754314"/>
                  <a:pt x="9164637" y="2754314"/>
                  <a:pt x="9164637" y="4521730"/>
                </a:cubicBezTo>
                <a:cubicBezTo>
                  <a:pt x="9164637" y="4521730"/>
                  <a:pt x="9164637" y="4521730"/>
                  <a:pt x="7670947" y="6016626"/>
                </a:cubicBezTo>
                <a:cubicBezTo>
                  <a:pt x="7427726" y="6262688"/>
                  <a:pt x="7028528" y="6262688"/>
                  <a:pt x="6785307" y="6016626"/>
                </a:cubicBezTo>
                <a:cubicBezTo>
                  <a:pt x="6542087" y="5773209"/>
                  <a:pt x="6542087" y="5376334"/>
                  <a:pt x="6785307" y="5130271"/>
                </a:cubicBezTo>
                <a:lnTo>
                  <a:pt x="9127625" y="2786063"/>
                </a:lnTo>
                <a:cubicBezTo>
                  <a:pt x="9140844" y="2775480"/>
                  <a:pt x="9151418" y="2764896"/>
                  <a:pt x="9164637" y="2754314"/>
                </a:cubicBezTo>
                <a:close/>
                <a:moveTo>
                  <a:pt x="6292160" y="823516"/>
                </a:moveTo>
                <a:cubicBezTo>
                  <a:pt x="6452870" y="823516"/>
                  <a:pt x="6613580" y="885032"/>
                  <a:pt x="6735270" y="1008063"/>
                </a:cubicBezTo>
                <a:cubicBezTo>
                  <a:pt x="6978650" y="1251479"/>
                  <a:pt x="6978650" y="1651000"/>
                  <a:pt x="6735270" y="1894417"/>
                </a:cubicBezTo>
                <a:cubicBezTo>
                  <a:pt x="6735270" y="1894417"/>
                  <a:pt x="6735270" y="1894417"/>
                  <a:pt x="1772439" y="6858000"/>
                </a:cubicBezTo>
                <a:lnTo>
                  <a:pt x="1768978" y="6858000"/>
                </a:lnTo>
                <a:lnTo>
                  <a:pt x="1760756" y="6858000"/>
                </a:lnTo>
                <a:lnTo>
                  <a:pt x="1744745" y="6858000"/>
                </a:lnTo>
                <a:lnTo>
                  <a:pt x="1718349" y="6858000"/>
                </a:lnTo>
                <a:lnTo>
                  <a:pt x="1678971" y="6858000"/>
                </a:lnTo>
                <a:lnTo>
                  <a:pt x="1624015" y="6858000"/>
                </a:lnTo>
                <a:lnTo>
                  <a:pt x="1550885" y="6858000"/>
                </a:lnTo>
                <a:lnTo>
                  <a:pt x="1456983" y="6858000"/>
                </a:lnTo>
                <a:lnTo>
                  <a:pt x="1339715" y="6858000"/>
                </a:lnTo>
                <a:lnTo>
                  <a:pt x="1196483" y="6858000"/>
                </a:lnTo>
                <a:lnTo>
                  <a:pt x="1024692" y="6858000"/>
                </a:lnTo>
                <a:lnTo>
                  <a:pt x="821744" y="6858000"/>
                </a:lnTo>
                <a:lnTo>
                  <a:pt x="585044" y="6858000"/>
                </a:lnTo>
                <a:lnTo>
                  <a:pt x="311995" y="6858000"/>
                </a:lnTo>
                <a:lnTo>
                  <a:pt x="161028" y="6858000"/>
                </a:lnTo>
                <a:lnTo>
                  <a:pt x="0" y="6858000"/>
                </a:lnTo>
                <a:cubicBezTo>
                  <a:pt x="0" y="6858000"/>
                  <a:pt x="0" y="6858000"/>
                  <a:pt x="5849050" y="1008063"/>
                </a:cubicBezTo>
                <a:cubicBezTo>
                  <a:pt x="5970740" y="885032"/>
                  <a:pt x="6131450" y="823516"/>
                  <a:pt x="6292160" y="823516"/>
                </a:cubicBezTo>
                <a:close/>
                <a:moveTo>
                  <a:pt x="8694737" y="0"/>
                </a:moveTo>
                <a:lnTo>
                  <a:pt x="9164637" y="0"/>
                </a:lnTo>
                <a:lnTo>
                  <a:pt x="9164637" y="2686050"/>
                </a:lnTo>
                <a:lnTo>
                  <a:pt x="4997450" y="6858000"/>
                </a:lnTo>
                <a:lnTo>
                  <a:pt x="1838325" y="6858000"/>
                </a:lnTo>
                <a:close/>
                <a:moveTo>
                  <a:pt x="6856244" y="0"/>
                </a:moveTo>
                <a:lnTo>
                  <a:pt x="6859705" y="0"/>
                </a:lnTo>
                <a:lnTo>
                  <a:pt x="6867923" y="0"/>
                </a:lnTo>
                <a:lnTo>
                  <a:pt x="6883929" y="0"/>
                </a:lnTo>
                <a:lnTo>
                  <a:pt x="6910316" y="0"/>
                </a:lnTo>
                <a:lnTo>
                  <a:pt x="6949680" y="0"/>
                </a:lnTo>
                <a:lnTo>
                  <a:pt x="7004616" y="0"/>
                </a:lnTo>
                <a:lnTo>
                  <a:pt x="7077721" y="0"/>
                </a:lnTo>
                <a:lnTo>
                  <a:pt x="7171590" y="0"/>
                </a:lnTo>
                <a:lnTo>
                  <a:pt x="7288817" y="0"/>
                </a:lnTo>
                <a:lnTo>
                  <a:pt x="7431998" y="0"/>
                </a:lnTo>
                <a:lnTo>
                  <a:pt x="7603730" y="0"/>
                </a:lnTo>
                <a:lnTo>
                  <a:pt x="7806606" y="0"/>
                </a:lnTo>
                <a:lnTo>
                  <a:pt x="8043224" y="0"/>
                </a:lnTo>
                <a:lnTo>
                  <a:pt x="8316177" y="0"/>
                </a:lnTo>
                <a:lnTo>
                  <a:pt x="8467091" y="0"/>
                </a:lnTo>
                <a:lnTo>
                  <a:pt x="8628062" y="0"/>
                </a:lnTo>
                <a:cubicBezTo>
                  <a:pt x="8628062" y="0"/>
                  <a:pt x="8628062" y="0"/>
                  <a:pt x="7652240" y="973244"/>
                </a:cubicBezTo>
                <a:cubicBezTo>
                  <a:pt x="7408946" y="1219200"/>
                  <a:pt x="7009626" y="1219200"/>
                  <a:pt x="6766331" y="973244"/>
                </a:cubicBezTo>
                <a:cubicBezTo>
                  <a:pt x="6523037" y="729933"/>
                  <a:pt x="6523037" y="330586"/>
                  <a:pt x="6766331" y="87275"/>
                </a:cubicBezTo>
                <a:cubicBezTo>
                  <a:pt x="6766331" y="87275"/>
                  <a:pt x="6766331" y="87275"/>
                  <a:pt x="6856244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4C68B8-E430-020A-E1AF-70E83332DB1B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24157" y="331596"/>
            <a:ext cx="4637370" cy="478301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D12F34-9160-43F5-BFCE-E2ED30C9BC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04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2BC05FF-F7B1-2643-B9FF-FE7362631CA8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54AF320E-9B8F-3143-935B-C21387DC95B0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4B250C1E-384C-5A4D-B493-4F16109AFBFE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5A2F5A00-A48E-1A46-9393-ED80FF031B14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96862EF-B16A-7B49-B5EF-1F789A62F17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381689" cy="36576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785628" cy="29705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5" name="Footer Placeholder 4">
            <a:extLst>
              <a:ext uri="{FF2B5EF4-FFF2-40B4-BE49-F238E27FC236}">
                <a16:creationId xmlns:a16="http://schemas.microsoft.com/office/drawing/2014/main" id="{2B5EAC86-5955-6C44-B473-E9638CE45B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82212" y="6387858"/>
            <a:ext cx="858796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 dirty="0">
              <a:solidFill>
                <a:srgbClr val="7F7F7F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676FBE2-B43F-5C47-8389-AD3C99D975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27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16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62D4C-ACB0-644F-9042-ADF3C890F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3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15868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BAE22B14-6C76-49AB-BED0-5402C8FF1C1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4012"/>
            <a:ext cx="6016529" cy="6849226"/>
          </a:xfrm>
          <a:custGeom>
            <a:avLst/>
            <a:gdLst>
              <a:gd name="connsiteX0" fmla="*/ 1801388 w 6016529"/>
              <a:gd name="connsiteY0" fmla="*/ 5504671 h 6849226"/>
              <a:gd name="connsiteX1" fmla="*/ 2088635 w 6016529"/>
              <a:gd name="connsiteY1" fmla="*/ 5623907 h 6849226"/>
              <a:gd name="connsiteX2" fmla="*/ 2088635 w 6016529"/>
              <a:gd name="connsiteY2" fmla="*/ 6194943 h 6849226"/>
              <a:gd name="connsiteX3" fmla="*/ 1516579 w 6016529"/>
              <a:gd name="connsiteY3" fmla="*/ 6194943 h 6849226"/>
              <a:gd name="connsiteX4" fmla="*/ 1516579 w 6016529"/>
              <a:gd name="connsiteY4" fmla="*/ 5623907 h 6849226"/>
              <a:gd name="connsiteX5" fmla="*/ 1801388 w 6016529"/>
              <a:gd name="connsiteY5" fmla="*/ 5504671 h 6849226"/>
              <a:gd name="connsiteX6" fmla="*/ 1696584 w 6016529"/>
              <a:gd name="connsiteY6" fmla="*/ 4364868 h 6849226"/>
              <a:gd name="connsiteX7" fmla="*/ 1987195 w 6016529"/>
              <a:gd name="connsiteY7" fmla="*/ 4484170 h 6849226"/>
              <a:gd name="connsiteX8" fmla="*/ 1987195 w 6016529"/>
              <a:gd name="connsiteY8" fmla="*/ 5065263 h 6849226"/>
              <a:gd name="connsiteX9" fmla="*/ 360615 w 6016529"/>
              <a:gd name="connsiteY9" fmla="*/ 6691481 h 6849226"/>
              <a:gd name="connsiteX10" fmla="*/ 202834 w 6016529"/>
              <a:gd name="connsiteY10" fmla="*/ 6849226 h 6849226"/>
              <a:gd name="connsiteX11" fmla="*/ 1 w 6016529"/>
              <a:gd name="connsiteY11" fmla="*/ 6849226 h 6849226"/>
              <a:gd name="connsiteX12" fmla="*/ 1 w 6016529"/>
              <a:gd name="connsiteY12" fmla="*/ 6838974 h 6849226"/>
              <a:gd name="connsiteX13" fmla="*/ 1 w 6016529"/>
              <a:gd name="connsiteY13" fmla="*/ 5893076 h 6849226"/>
              <a:gd name="connsiteX14" fmla="*/ 1405973 w 6016529"/>
              <a:gd name="connsiteY14" fmla="*/ 4484170 h 6849226"/>
              <a:gd name="connsiteX15" fmla="*/ 1696584 w 6016529"/>
              <a:gd name="connsiteY15" fmla="*/ 4364868 h 6849226"/>
              <a:gd name="connsiteX16" fmla="*/ 5356050 w 6016529"/>
              <a:gd name="connsiteY16" fmla="*/ 3185373 h 6849226"/>
              <a:gd name="connsiteX17" fmla="*/ 5647937 w 6016529"/>
              <a:gd name="connsiteY17" fmla="*/ 3304731 h 6849226"/>
              <a:gd name="connsiteX18" fmla="*/ 5647937 w 6016529"/>
              <a:gd name="connsiteY18" fmla="*/ 3882843 h 6849226"/>
              <a:gd name="connsiteX19" fmla="*/ 4417055 w 6016529"/>
              <a:gd name="connsiteY19" fmla="*/ 5110519 h 6849226"/>
              <a:gd name="connsiteX20" fmla="*/ 3838963 w 6016529"/>
              <a:gd name="connsiteY20" fmla="*/ 5110519 h 6849226"/>
              <a:gd name="connsiteX21" fmla="*/ 3838963 w 6016529"/>
              <a:gd name="connsiteY21" fmla="*/ 4532407 h 6849226"/>
              <a:gd name="connsiteX22" fmla="*/ 5066597 w 6016529"/>
              <a:gd name="connsiteY22" fmla="*/ 3304731 h 6849226"/>
              <a:gd name="connsiteX23" fmla="*/ 5356050 w 6016529"/>
              <a:gd name="connsiteY23" fmla="*/ 3185373 h 6849226"/>
              <a:gd name="connsiteX24" fmla="*/ 5536808 w 6016529"/>
              <a:gd name="connsiteY24" fmla="*/ 1763773 h 6849226"/>
              <a:gd name="connsiteX25" fmla="*/ 5825779 w 6016529"/>
              <a:gd name="connsiteY25" fmla="*/ 1885531 h 6849226"/>
              <a:gd name="connsiteX26" fmla="*/ 5825779 w 6016529"/>
              <a:gd name="connsiteY26" fmla="*/ 2463473 h 6849226"/>
              <a:gd name="connsiteX27" fmla="*/ 2708786 w 6016529"/>
              <a:gd name="connsiteY27" fmla="*/ 5580466 h 6849226"/>
              <a:gd name="connsiteX28" fmla="*/ 2127597 w 6016529"/>
              <a:gd name="connsiteY28" fmla="*/ 5580466 h 6849226"/>
              <a:gd name="connsiteX29" fmla="*/ 2127597 w 6016529"/>
              <a:gd name="connsiteY29" fmla="*/ 5002523 h 6849226"/>
              <a:gd name="connsiteX30" fmla="*/ 5247836 w 6016529"/>
              <a:gd name="connsiteY30" fmla="*/ 1885531 h 6849226"/>
              <a:gd name="connsiteX31" fmla="*/ 5536808 w 6016529"/>
              <a:gd name="connsiteY31" fmla="*/ 1763773 h 6849226"/>
              <a:gd name="connsiteX32" fmla="*/ 3838081 w 6016529"/>
              <a:gd name="connsiteY32" fmla="*/ 983508 h 6849226"/>
              <a:gd name="connsiteX33" fmla="*/ 4127118 w 6016529"/>
              <a:gd name="connsiteY33" fmla="*/ 1102856 h 6849226"/>
              <a:gd name="connsiteX34" fmla="*/ 4127118 w 6016529"/>
              <a:gd name="connsiteY34" fmla="*/ 1684167 h 6849226"/>
              <a:gd name="connsiteX35" fmla="*/ 834045 w 6016529"/>
              <a:gd name="connsiteY35" fmla="*/ 4977183 h 6849226"/>
              <a:gd name="connsiteX36" fmla="*/ 255971 w 6016529"/>
              <a:gd name="connsiteY36" fmla="*/ 4977183 h 6849226"/>
              <a:gd name="connsiteX37" fmla="*/ 255971 w 6016529"/>
              <a:gd name="connsiteY37" fmla="*/ 4395872 h 6849226"/>
              <a:gd name="connsiteX38" fmla="*/ 3549044 w 6016529"/>
              <a:gd name="connsiteY38" fmla="*/ 1102856 h 6849226"/>
              <a:gd name="connsiteX39" fmla="*/ 3838081 w 6016529"/>
              <a:gd name="connsiteY39" fmla="*/ 983508 h 6849226"/>
              <a:gd name="connsiteX40" fmla="*/ 2974523 w 6016529"/>
              <a:gd name="connsiteY40" fmla="*/ 610447 h 6849226"/>
              <a:gd name="connsiteX41" fmla="*/ 3263533 w 6016529"/>
              <a:gd name="connsiteY41" fmla="*/ 729803 h 6849226"/>
              <a:gd name="connsiteX42" fmla="*/ 3263533 w 6016529"/>
              <a:gd name="connsiteY42" fmla="*/ 1307904 h 6849226"/>
              <a:gd name="connsiteX43" fmla="*/ 217569 w 6016529"/>
              <a:gd name="connsiteY43" fmla="*/ 4357551 h 6849226"/>
              <a:gd name="connsiteX44" fmla="*/ 0 w 6016529"/>
              <a:gd name="connsiteY44" fmla="*/ 4467975 h 6849226"/>
              <a:gd name="connsiteX45" fmla="*/ 0 w 6016529"/>
              <a:gd name="connsiteY45" fmla="*/ 4465920 h 6849226"/>
              <a:gd name="connsiteX46" fmla="*/ 0 w 6016529"/>
              <a:gd name="connsiteY46" fmla="*/ 4451533 h 6849226"/>
              <a:gd name="connsiteX47" fmla="*/ 0 w 6016529"/>
              <a:gd name="connsiteY47" fmla="*/ 4435862 h 6849226"/>
              <a:gd name="connsiteX48" fmla="*/ 0 w 6016529"/>
              <a:gd name="connsiteY48" fmla="*/ 4412484 h 6849226"/>
              <a:gd name="connsiteX49" fmla="*/ 0 w 6016529"/>
              <a:gd name="connsiteY49" fmla="*/ 4379858 h 6849226"/>
              <a:gd name="connsiteX50" fmla="*/ 0 w 6016529"/>
              <a:gd name="connsiteY50" fmla="*/ 4336441 h 6849226"/>
              <a:gd name="connsiteX51" fmla="*/ 0 w 6016529"/>
              <a:gd name="connsiteY51" fmla="*/ 4280693 h 6849226"/>
              <a:gd name="connsiteX52" fmla="*/ 0 w 6016529"/>
              <a:gd name="connsiteY52" fmla="*/ 4211072 h 6849226"/>
              <a:gd name="connsiteX53" fmla="*/ 0 w 6016529"/>
              <a:gd name="connsiteY53" fmla="*/ 4126038 h 6849226"/>
              <a:gd name="connsiteX54" fmla="*/ 0 w 6016529"/>
              <a:gd name="connsiteY54" fmla="*/ 4024047 h 6849226"/>
              <a:gd name="connsiteX55" fmla="*/ 0 w 6016529"/>
              <a:gd name="connsiteY55" fmla="*/ 3903560 h 6849226"/>
              <a:gd name="connsiteX56" fmla="*/ 0 w 6016529"/>
              <a:gd name="connsiteY56" fmla="*/ 3763034 h 6849226"/>
              <a:gd name="connsiteX57" fmla="*/ 0 w 6016529"/>
              <a:gd name="connsiteY57" fmla="*/ 3600928 h 6849226"/>
              <a:gd name="connsiteX58" fmla="*/ 0 w 6016529"/>
              <a:gd name="connsiteY58" fmla="*/ 3415701 h 6849226"/>
              <a:gd name="connsiteX59" fmla="*/ 2685514 w 6016529"/>
              <a:gd name="connsiteY59" fmla="*/ 729803 h 6849226"/>
              <a:gd name="connsiteX60" fmla="*/ 2974523 w 6016529"/>
              <a:gd name="connsiteY60" fmla="*/ 610447 h 6849226"/>
              <a:gd name="connsiteX61" fmla="*/ 5606520 w 6016529"/>
              <a:gd name="connsiteY61" fmla="*/ 454871 h 6849226"/>
              <a:gd name="connsiteX62" fmla="*/ 5897180 w 6016529"/>
              <a:gd name="connsiteY62" fmla="*/ 574220 h 6849226"/>
              <a:gd name="connsiteX63" fmla="*/ 5897180 w 6016529"/>
              <a:gd name="connsiteY63" fmla="*/ 1155542 h 6849226"/>
              <a:gd name="connsiteX64" fmla="*/ 2607355 w 6016529"/>
              <a:gd name="connsiteY64" fmla="*/ 4445367 h 6849226"/>
              <a:gd name="connsiteX65" fmla="*/ 2026033 w 6016529"/>
              <a:gd name="connsiteY65" fmla="*/ 4445367 h 6849226"/>
              <a:gd name="connsiteX66" fmla="*/ 2026033 w 6016529"/>
              <a:gd name="connsiteY66" fmla="*/ 3867293 h 6849226"/>
              <a:gd name="connsiteX67" fmla="*/ 5315859 w 6016529"/>
              <a:gd name="connsiteY67" fmla="*/ 574220 h 6849226"/>
              <a:gd name="connsiteX68" fmla="*/ 5606520 w 6016529"/>
              <a:gd name="connsiteY68" fmla="*/ 454871 h 6849226"/>
              <a:gd name="connsiteX69" fmla="*/ 3590538 w 6016529"/>
              <a:gd name="connsiteY69" fmla="*/ 0 h 6849226"/>
              <a:gd name="connsiteX70" fmla="*/ 3877809 w 6016529"/>
              <a:gd name="connsiteY70" fmla="*/ 116812 h 6849226"/>
              <a:gd name="connsiteX71" fmla="*/ 3877809 w 6016529"/>
              <a:gd name="connsiteY71" fmla="*/ 687893 h 6849226"/>
              <a:gd name="connsiteX72" fmla="*/ 3305704 w 6016529"/>
              <a:gd name="connsiteY72" fmla="*/ 687893 h 6849226"/>
              <a:gd name="connsiteX73" fmla="*/ 3305704 w 6016529"/>
              <a:gd name="connsiteY73" fmla="*/ 116812 h 6849226"/>
              <a:gd name="connsiteX74" fmla="*/ 3590538 w 6016529"/>
              <a:gd name="connsiteY74" fmla="*/ 0 h 6849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016529" h="6849226">
                <a:moveTo>
                  <a:pt x="1801388" y="5504671"/>
                </a:moveTo>
                <a:cubicBezTo>
                  <a:pt x="1904992" y="5504671"/>
                  <a:pt x="2009003" y="5544416"/>
                  <a:pt x="2088635" y="5623907"/>
                </a:cubicBezTo>
                <a:cubicBezTo>
                  <a:pt x="2247901" y="5779644"/>
                  <a:pt x="2247901" y="6035962"/>
                  <a:pt x="2088635" y="6194943"/>
                </a:cubicBezTo>
                <a:cubicBezTo>
                  <a:pt x="1929370" y="6353925"/>
                  <a:pt x="1672594" y="6353925"/>
                  <a:pt x="1516579" y="6194943"/>
                </a:cubicBezTo>
                <a:cubicBezTo>
                  <a:pt x="1357313" y="6035962"/>
                  <a:pt x="1357313" y="5779644"/>
                  <a:pt x="1516579" y="5623907"/>
                </a:cubicBezTo>
                <a:cubicBezTo>
                  <a:pt x="1594586" y="5544416"/>
                  <a:pt x="1697784" y="5504671"/>
                  <a:pt x="1801388" y="5504671"/>
                </a:cubicBezTo>
                <a:close/>
                <a:moveTo>
                  <a:pt x="1696584" y="4364868"/>
                </a:moveTo>
                <a:cubicBezTo>
                  <a:pt x="1802113" y="4364868"/>
                  <a:pt x="1907643" y="4404635"/>
                  <a:pt x="1987195" y="4484170"/>
                </a:cubicBezTo>
                <a:cubicBezTo>
                  <a:pt x="2146300" y="4643240"/>
                  <a:pt x="2146300" y="4906193"/>
                  <a:pt x="1987195" y="5065263"/>
                </a:cubicBezTo>
                <a:cubicBezTo>
                  <a:pt x="1987195" y="5065263"/>
                  <a:pt x="1987195" y="5065263"/>
                  <a:pt x="360615" y="6691481"/>
                </a:cubicBezTo>
                <a:lnTo>
                  <a:pt x="202834" y="6849226"/>
                </a:lnTo>
                <a:lnTo>
                  <a:pt x="1" y="6849226"/>
                </a:lnTo>
                <a:lnTo>
                  <a:pt x="1" y="6838974"/>
                </a:lnTo>
                <a:cubicBezTo>
                  <a:pt x="1" y="6793931"/>
                  <a:pt x="1" y="6613760"/>
                  <a:pt x="1" y="5893076"/>
                </a:cubicBezTo>
                <a:cubicBezTo>
                  <a:pt x="1" y="5893076"/>
                  <a:pt x="1" y="5893076"/>
                  <a:pt x="1405973" y="4484170"/>
                </a:cubicBezTo>
                <a:cubicBezTo>
                  <a:pt x="1485526" y="4404635"/>
                  <a:pt x="1591055" y="4364868"/>
                  <a:pt x="1696584" y="4364868"/>
                </a:cubicBezTo>
                <a:close/>
                <a:moveTo>
                  <a:pt x="5356050" y="3185373"/>
                </a:moveTo>
                <a:cubicBezTo>
                  <a:pt x="5461194" y="3185373"/>
                  <a:pt x="5566745" y="3225159"/>
                  <a:pt x="5647937" y="3304731"/>
                </a:cubicBezTo>
                <a:cubicBezTo>
                  <a:pt x="5807075" y="3463874"/>
                  <a:pt x="5807075" y="3723699"/>
                  <a:pt x="5647937" y="3882843"/>
                </a:cubicBezTo>
                <a:cubicBezTo>
                  <a:pt x="5647937" y="3882843"/>
                  <a:pt x="5647937" y="3882843"/>
                  <a:pt x="4417055" y="5110519"/>
                </a:cubicBezTo>
                <a:cubicBezTo>
                  <a:pt x="4257918" y="5269662"/>
                  <a:pt x="3998101" y="5269662"/>
                  <a:pt x="3838963" y="5110519"/>
                </a:cubicBezTo>
                <a:cubicBezTo>
                  <a:pt x="3679825" y="4951376"/>
                  <a:pt x="3679825" y="4691550"/>
                  <a:pt x="3838963" y="4532407"/>
                </a:cubicBezTo>
                <a:cubicBezTo>
                  <a:pt x="3838963" y="4532407"/>
                  <a:pt x="3838963" y="4532407"/>
                  <a:pt x="5066597" y="3304731"/>
                </a:cubicBezTo>
                <a:cubicBezTo>
                  <a:pt x="5146166" y="3225159"/>
                  <a:pt x="5250905" y="3185373"/>
                  <a:pt x="5356050" y="3185373"/>
                </a:cubicBezTo>
                <a:close/>
                <a:moveTo>
                  <a:pt x="5536808" y="1763773"/>
                </a:moveTo>
                <a:cubicBezTo>
                  <a:pt x="5641519" y="1763773"/>
                  <a:pt x="5746231" y="1804359"/>
                  <a:pt x="5825779" y="1885531"/>
                </a:cubicBezTo>
                <a:cubicBezTo>
                  <a:pt x="5984875" y="2044627"/>
                  <a:pt x="5984875" y="2304377"/>
                  <a:pt x="5825779" y="2463473"/>
                </a:cubicBezTo>
                <a:cubicBezTo>
                  <a:pt x="5825779" y="2463473"/>
                  <a:pt x="5825779" y="2463473"/>
                  <a:pt x="2708786" y="5580466"/>
                </a:cubicBezTo>
                <a:cubicBezTo>
                  <a:pt x="2549689" y="5739562"/>
                  <a:pt x="2286693" y="5739562"/>
                  <a:pt x="2127597" y="5580466"/>
                </a:cubicBezTo>
                <a:cubicBezTo>
                  <a:pt x="1968500" y="5421369"/>
                  <a:pt x="1968500" y="5161620"/>
                  <a:pt x="2127597" y="5002523"/>
                </a:cubicBezTo>
                <a:cubicBezTo>
                  <a:pt x="2127597" y="5002523"/>
                  <a:pt x="2127597" y="5002523"/>
                  <a:pt x="5247836" y="1885531"/>
                </a:cubicBezTo>
                <a:cubicBezTo>
                  <a:pt x="5327384" y="1804359"/>
                  <a:pt x="5432096" y="1763773"/>
                  <a:pt x="5536808" y="1763773"/>
                </a:cubicBezTo>
                <a:close/>
                <a:moveTo>
                  <a:pt x="3838081" y="983508"/>
                </a:moveTo>
                <a:cubicBezTo>
                  <a:pt x="3942817" y="983508"/>
                  <a:pt x="4047552" y="1023291"/>
                  <a:pt x="4127118" y="1102856"/>
                </a:cubicBezTo>
                <a:cubicBezTo>
                  <a:pt x="4286251" y="1265233"/>
                  <a:pt x="4286251" y="1525037"/>
                  <a:pt x="4127118" y="1684167"/>
                </a:cubicBezTo>
                <a:cubicBezTo>
                  <a:pt x="4127118" y="1684167"/>
                  <a:pt x="4127118" y="1684167"/>
                  <a:pt x="834045" y="4977183"/>
                </a:cubicBezTo>
                <a:cubicBezTo>
                  <a:pt x="674913" y="5136313"/>
                  <a:pt x="415104" y="5136313"/>
                  <a:pt x="255971" y="4977183"/>
                </a:cubicBezTo>
                <a:cubicBezTo>
                  <a:pt x="96839" y="4814806"/>
                  <a:pt x="96839" y="4555002"/>
                  <a:pt x="255971" y="4395872"/>
                </a:cubicBezTo>
                <a:cubicBezTo>
                  <a:pt x="255971" y="4395872"/>
                  <a:pt x="255971" y="4395872"/>
                  <a:pt x="3549044" y="1102856"/>
                </a:cubicBezTo>
                <a:cubicBezTo>
                  <a:pt x="3628611" y="1023291"/>
                  <a:pt x="3733346" y="983508"/>
                  <a:pt x="3838081" y="983508"/>
                </a:cubicBezTo>
                <a:close/>
                <a:moveTo>
                  <a:pt x="2974523" y="610447"/>
                </a:moveTo>
                <a:cubicBezTo>
                  <a:pt x="3079249" y="610447"/>
                  <a:pt x="3183974" y="650233"/>
                  <a:pt x="3263533" y="729803"/>
                </a:cubicBezTo>
                <a:cubicBezTo>
                  <a:pt x="3422650" y="888943"/>
                  <a:pt x="3422650" y="1148764"/>
                  <a:pt x="3263533" y="1307904"/>
                </a:cubicBezTo>
                <a:lnTo>
                  <a:pt x="217569" y="4357551"/>
                </a:lnTo>
                <a:cubicBezTo>
                  <a:pt x="155871" y="4419259"/>
                  <a:pt x="77935" y="4454984"/>
                  <a:pt x="0" y="4467975"/>
                </a:cubicBezTo>
                <a:lnTo>
                  <a:pt x="0" y="4465920"/>
                </a:lnTo>
                <a:lnTo>
                  <a:pt x="0" y="4451533"/>
                </a:lnTo>
                <a:lnTo>
                  <a:pt x="0" y="4435862"/>
                </a:lnTo>
                <a:lnTo>
                  <a:pt x="0" y="4412484"/>
                </a:lnTo>
                <a:lnTo>
                  <a:pt x="0" y="4379858"/>
                </a:lnTo>
                <a:lnTo>
                  <a:pt x="0" y="4336441"/>
                </a:lnTo>
                <a:lnTo>
                  <a:pt x="0" y="4280693"/>
                </a:lnTo>
                <a:lnTo>
                  <a:pt x="0" y="4211072"/>
                </a:lnTo>
                <a:lnTo>
                  <a:pt x="0" y="4126038"/>
                </a:lnTo>
                <a:lnTo>
                  <a:pt x="0" y="4024047"/>
                </a:lnTo>
                <a:lnTo>
                  <a:pt x="0" y="3903560"/>
                </a:lnTo>
                <a:lnTo>
                  <a:pt x="0" y="3763034"/>
                </a:lnTo>
                <a:lnTo>
                  <a:pt x="0" y="3600928"/>
                </a:lnTo>
                <a:lnTo>
                  <a:pt x="0" y="3415701"/>
                </a:lnTo>
                <a:cubicBezTo>
                  <a:pt x="0" y="3415701"/>
                  <a:pt x="0" y="3415701"/>
                  <a:pt x="2685514" y="729803"/>
                </a:cubicBezTo>
                <a:cubicBezTo>
                  <a:pt x="2765073" y="650233"/>
                  <a:pt x="2869798" y="610447"/>
                  <a:pt x="2974523" y="610447"/>
                </a:cubicBezTo>
                <a:close/>
                <a:moveTo>
                  <a:pt x="5606520" y="454871"/>
                </a:moveTo>
                <a:cubicBezTo>
                  <a:pt x="5712067" y="454871"/>
                  <a:pt x="5817614" y="494654"/>
                  <a:pt x="5897180" y="574220"/>
                </a:cubicBezTo>
                <a:cubicBezTo>
                  <a:pt x="6056313" y="733353"/>
                  <a:pt x="6056313" y="996409"/>
                  <a:pt x="5897180" y="1155542"/>
                </a:cubicBezTo>
                <a:cubicBezTo>
                  <a:pt x="5897180" y="1155542"/>
                  <a:pt x="5897180" y="1155542"/>
                  <a:pt x="2607355" y="4445367"/>
                </a:cubicBezTo>
                <a:cubicBezTo>
                  <a:pt x="2444975" y="4604500"/>
                  <a:pt x="2185166" y="4604500"/>
                  <a:pt x="2026033" y="4445367"/>
                </a:cubicBezTo>
                <a:cubicBezTo>
                  <a:pt x="1866901" y="4286235"/>
                  <a:pt x="1866901" y="4026426"/>
                  <a:pt x="2026033" y="3867293"/>
                </a:cubicBezTo>
                <a:cubicBezTo>
                  <a:pt x="2026033" y="3867293"/>
                  <a:pt x="2026033" y="3867293"/>
                  <a:pt x="5315859" y="574220"/>
                </a:cubicBezTo>
                <a:cubicBezTo>
                  <a:pt x="5395425" y="494654"/>
                  <a:pt x="5500972" y="454871"/>
                  <a:pt x="5606520" y="454871"/>
                </a:cubicBezTo>
                <a:close/>
                <a:moveTo>
                  <a:pt x="3590538" y="0"/>
                </a:moveTo>
                <a:cubicBezTo>
                  <a:pt x="3694151" y="0"/>
                  <a:pt x="3798170" y="38937"/>
                  <a:pt x="3877809" y="116812"/>
                </a:cubicBezTo>
                <a:cubicBezTo>
                  <a:pt x="4033838" y="275806"/>
                  <a:pt x="4033838" y="532144"/>
                  <a:pt x="3877809" y="687893"/>
                </a:cubicBezTo>
                <a:cubicBezTo>
                  <a:pt x="3718530" y="846887"/>
                  <a:pt x="3461733" y="846887"/>
                  <a:pt x="3305704" y="687893"/>
                </a:cubicBezTo>
                <a:cubicBezTo>
                  <a:pt x="3146425" y="532144"/>
                  <a:pt x="3146425" y="275806"/>
                  <a:pt x="3305704" y="116812"/>
                </a:cubicBezTo>
                <a:cubicBezTo>
                  <a:pt x="3383719" y="38937"/>
                  <a:pt x="3486925" y="0"/>
                  <a:pt x="3590538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E65771-7C11-4A8C-84F4-5192D613DB5E}"/>
              </a:ext>
            </a:extLst>
          </p:cNvPr>
          <p:cNvSpPr txBox="1"/>
          <p:nvPr userDrawn="1"/>
        </p:nvSpPr>
        <p:spPr bwMode="black">
          <a:xfrm>
            <a:off x="731520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C836A395-FD4E-4917-8E6D-2BE4CAD835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77536598-0245-4E2C-BBB9-0BD097E797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884C363C-541B-44AF-8E1E-02C68EDA59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FCEAB378-025C-41A6-9397-DD16EC6FDF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258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98417A7B-0748-4FAB-875B-381521CB81E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06507" y="1"/>
            <a:ext cx="5682319" cy="6857999"/>
          </a:xfrm>
          <a:custGeom>
            <a:avLst/>
            <a:gdLst>
              <a:gd name="connsiteX0" fmla="*/ 3882150 w 5682319"/>
              <a:gd name="connsiteY0" fmla="*/ 4074443 h 6857999"/>
              <a:gd name="connsiteX1" fmla="*/ 4169357 w 5682319"/>
              <a:gd name="connsiteY1" fmla="*/ 4191499 h 6857999"/>
              <a:gd name="connsiteX2" fmla="*/ 4169357 w 5682319"/>
              <a:gd name="connsiteY2" fmla="*/ 4765537 h 6857999"/>
              <a:gd name="connsiteX3" fmla="*/ 2075525 w 5682319"/>
              <a:gd name="connsiteY3" fmla="*/ 6857999 h 6857999"/>
              <a:gd name="connsiteX4" fmla="*/ 929344 w 5682319"/>
              <a:gd name="connsiteY4" fmla="*/ 6857999 h 6857999"/>
              <a:gd name="connsiteX5" fmla="*/ 3594943 w 5682319"/>
              <a:gd name="connsiteY5" fmla="*/ 4191499 h 6857999"/>
              <a:gd name="connsiteX6" fmla="*/ 3882150 w 5682319"/>
              <a:gd name="connsiteY6" fmla="*/ 4074443 h 6857999"/>
              <a:gd name="connsiteX7" fmla="*/ 5682319 w 5682319"/>
              <a:gd name="connsiteY7" fmla="*/ 3317874 h 6857999"/>
              <a:gd name="connsiteX8" fmla="*/ 5682319 w 5682319"/>
              <a:gd name="connsiteY8" fmla="*/ 4466166 h 6857999"/>
              <a:gd name="connsiteX9" fmla="*/ 3668064 w 5682319"/>
              <a:gd name="connsiteY9" fmla="*/ 6479645 h 6857999"/>
              <a:gd name="connsiteX10" fmla="*/ 3096343 w 5682319"/>
              <a:gd name="connsiteY10" fmla="*/ 6479645 h 6857999"/>
              <a:gd name="connsiteX11" fmla="*/ 3096343 w 5682319"/>
              <a:gd name="connsiteY11" fmla="*/ 5905499 h 6857999"/>
              <a:gd name="connsiteX12" fmla="*/ 4185522 w 5682319"/>
              <a:gd name="connsiteY12" fmla="*/ 1341442 h 6857999"/>
              <a:gd name="connsiteX13" fmla="*/ 4472627 w 5682319"/>
              <a:gd name="connsiteY13" fmla="*/ 1460518 h 6857999"/>
              <a:gd name="connsiteX14" fmla="*/ 4472627 w 5682319"/>
              <a:gd name="connsiteY14" fmla="*/ 2034728 h 6857999"/>
              <a:gd name="connsiteX15" fmla="*/ 691303 w 5682319"/>
              <a:gd name="connsiteY15" fmla="*/ 5816052 h 6857999"/>
              <a:gd name="connsiteX16" fmla="*/ 117092 w 5682319"/>
              <a:gd name="connsiteY16" fmla="*/ 5816052 h 6857999"/>
              <a:gd name="connsiteX17" fmla="*/ 117092 w 5682319"/>
              <a:gd name="connsiteY17" fmla="*/ 5241841 h 6857999"/>
              <a:gd name="connsiteX18" fmla="*/ 3898416 w 5682319"/>
              <a:gd name="connsiteY18" fmla="*/ 1460518 h 6857999"/>
              <a:gd name="connsiteX19" fmla="*/ 4185522 w 5682319"/>
              <a:gd name="connsiteY19" fmla="*/ 1341442 h 6857999"/>
              <a:gd name="connsiteX20" fmla="*/ 5682319 w 5682319"/>
              <a:gd name="connsiteY20" fmla="*/ 892174 h 6857999"/>
              <a:gd name="connsiteX21" fmla="*/ 5682319 w 5682319"/>
              <a:gd name="connsiteY21" fmla="*/ 2037686 h 6857999"/>
              <a:gd name="connsiteX22" fmla="*/ 2456186 w 5682319"/>
              <a:gd name="connsiteY22" fmla="*/ 5265226 h 6857999"/>
              <a:gd name="connsiteX23" fmla="*/ 1881887 w 5682319"/>
              <a:gd name="connsiteY23" fmla="*/ 5265226 h 6857999"/>
              <a:gd name="connsiteX24" fmla="*/ 1881887 w 5682319"/>
              <a:gd name="connsiteY24" fmla="*/ 4691147 h 6857999"/>
              <a:gd name="connsiteX25" fmla="*/ 5663793 w 5682319"/>
              <a:gd name="connsiteY25" fmla="*/ 910693 h 6857999"/>
              <a:gd name="connsiteX26" fmla="*/ 5682319 w 5682319"/>
              <a:gd name="connsiteY26" fmla="*/ 892174 h 6857999"/>
              <a:gd name="connsiteX27" fmla="*/ 4144645 w 5682319"/>
              <a:gd name="connsiteY27" fmla="*/ 0 h 6857999"/>
              <a:gd name="connsiteX28" fmla="*/ 5293380 w 5682319"/>
              <a:gd name="connsiteY28" fmla="*/ 0 h 6857999"/>
              <a:gd name="connsiteX29" fmla="*/ 5292555 w 5682319"/>
              <a:gd name="connsiteY29" fmla="*/ 824 h 6857999"/>
              <a:gd name="connsiteX30" fmla="*/ 1910701 w 5682319"/>
              <a:gd name="connsiteY30" fmla="*/ 3380869 h 6857999"/>
              <a:gd name="connsiteX31" fmla="*/ 1338981 w 5682319"/>
              <a:gd name="connsiteY31" fmla="*/ 3380869 h 6857999"/>
              <a:gd name="connsiteX32" fmla="*/ 1338981 w 5682319"/>
              <a:gd name="connsiteY32" fmla="*/ 2806808 h 6857999"/>
              <a:gd name="connsiteX33" fmla="*/ 3889749 w 5682319"/>
              <a:gd name="connsiteY33" fmla="*/ 25500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5682319" h="6857999">
                <a:moveTo>
                  <a:pt x="3882150" y="4074443"/>
                </a:moveTo>
                <a:cubicBezTo>
                  <a:pt x="3986048" y="4074443"/>
                  <a:pt x="4089945" y="4113462"/>
                  <a:pt x="4169357" y="4191499"/>
                </a:cubicBezTo>
                <a:cubicBezTo>
                  <a:pt x="4328181" y="4350219"/>
                  <a:pt x="4328181" y="4609462"/>
                  <a:pt x="4169357" y="4765537"/>
                </a:cubicBezTo>
                <a:cubicBezTo>
                  <a:pt x="4169357" y="4765537"/>
                  <a:pt x="4169357" y="4765537"/>
                  <a:pt x="2075525" y="6857999"/>
                </a:cubicBezTo>
                <a:cubicBezTo>
                  <a:pt x="2075525" y="6857999"/>
                  <a:pt x="2075525" y="6857999"/>
                  <a:pt x="929344" y="6857999"/>
                </a:cubicBezTo>
                <a:cubicBezTo>
                  <a:pt x="929344" y="6857999"/>
                  <a:pt x="929344" y="6857999"/>
                  <a:pt x="3594943" y="4191499"/>
                </a:cubicBezTo>
                <a:cubicBezTo>
                  <a:pt x="3674355" y="4113462"/>
                  <a:pt x="3778252" y="4074443"/>
                  <a:pt x="3882150" y="4074443"/>
                </a:cubicBezTo>
                <a:close/>
                <a:moveTo>
                  <a:pt x="5682319" y="3317874"/>
                </a:moveTo>
                <a:cubicBezTo>
                  <a:pt x="5682319" y="3317874"/>
                  <a:pt x="5682319" y="3317874"/>
                  <a:pt x="5682319" y="4466166"/>
                </a:cubicBezTo>
                <a:cubicBezTo>
                  <a:pt x="5682319" y="4466166"/>
                  <a:pt x="5682319" y="4466166"/>
                  <a:pt x="3668064" y="6479645"/>
                </a:cubicBezTo>
                <a:cubicBezTo>
                  <a:pt x="3511899" y="6635749"/>
                  <a:pt x="3252508" y="6635749"/>
                  <a:pt x="3096343" y="6479645"/>
                </a:cubicBezTo>
                <a:cubicBezTo>
                  <a:pt x="2937532" y="6320895"/>
                  <a:pt x="2937532" y="6061603"/>
                  <a:pt x="3096343" y="5905499"/>
                </a:cubicBezTo>
                <a:close/>
                <a:moveTo>
                  <a:pt x="4185522" y="1341442"/>
                </a:moveTo>
                <a:cubicBezTo>
                  <a:pt x="4289382" y="1341442"/>
                  <a:pt x="4393243" y="1381134"/>
                  <a:pt x="4472627" y="1460518"/>
                </a:cubicBezTo>
                <a:cubicBezTo>
                  <a:pt x="4631395" y="1619285"/>
                  <a:pt x="4631395" y="1875960"/>
                  <a:pt x="4472627" y="2034728"/>
                </a:cubicBezTo>
                <a:cubicBezTo>
                  <a:pt x="4472627" y="2034728"/>
                  <a:pt x="4472627" y="2034728"/>
                  <a:pt x="691303" y="5816052"/>
                </a:cubicBezTo>
                <a:cubicBezTo>
                  <a:pt x="532535" y="5972174"/>
                  <a:pt x="275860" y="5972174"/>
                  <a:pt x="117092" y="5816052"/>
                </a:cubicBezTo>
                <a:cubicBezTo>
                  <a:pt x="-39030" y="5657284"/>
                  <a:pt x="-39030" y="5400609"/>
                  <a:pt x="117092" y="5241841"/>
                </a:cubicBezTo>
                <a:cubicBezTo>
                  <a:pt x="117092" y="5241841"/>
                  <a:pt x="117092" y="5241841"/>
                  <a:pt x="3898416" y="1460518"/>
                </a:cubicBezTo>
                <a:cubicBezTo>
                  <a:pt x="3977800" y="1381134"/>
                  <a:pt x="4081661" y="1341442"/>
                  <a:pt x="4185522" y="1341442"/>
                </a:cubicBezTo>
                <a:close/>
                <a:moveTo>
                  <a:pt x="5682319" y="892174"/>
                </a:moveTo>
                <a:cubicBezTo>
                  <a:pt x="5682319" y="892174"/>
                  <a:pt x="5682319" y="892174"/>
                  <a:pt x="5682319" y="2037686"/>
                </a:cubicBezTo>
                <a:cubicBezTo>
                  <a:pt x="5682319" y="2037686"/>
                  <a:pt x="5682319" y="2037686"/>
                  <a:pt x="2456186" y="5265226"/>
                </a:cubicBezTo>
                <a:cubicBezTo>
                  <a:pt x="2297393" y="5421312"/>
                  <a:pt x="2040679" y="5421312"/>
                  <a:pt x="1881887" y="5265226"/>
                </a:cubicBezTo>
                <a:cubicBezTo>
                  <a:pt x="1723094" y="5106495"/>
                  <a:pt x="1723094" y="4849879"/>
                  <a:pt x="1881887" y="4691147"/>
                </a:cubicBezTo>
                <a:lnTo>
                  <a:pt x="5663793" y="910693"/>
                </a:lnTo>
                <a:cubicBezTo>
                  <a:pt x="5669086" y="905402"/>
                  <a:pt x="5677026" y="900111"/>
                  <a:pt x="5682319" y="892174"/>
                </a:cubicBezTo>
                <a:close/>
                <a:moveTo>
                  <a:pt x="4144645" y="0"/>
                </a:moveTo>
                <a:lnTo>
                  <a:pt x="5293380" y="0"/>
                </a:lnTo>
                <a:lnTo>
                  <a:pt x="5292555" y="824"/>
                </a:lnTo>
                <a:cubicBezTo>
                  <a:pt x="5280167" y="13206"/>
                  <a:pt x="5081964" y="211303"/>
                  <a:pt x="1910701" y="3380869"/>
                </a:cubicBezTo>
                <a:cubicBezTo>
                  <a:pt x="1754537" y="3536949"/>
                  <a:pt x="1495145" y="3536949"/>
                  <a:pt x="1338981" y="3380869"/>
                </a:cubicBezTo>
                <a:cubicBezTo>
                  <a:pt x="1180169" y="3222143"/>
                  <a:pt x="1180169" y="2962889"/>
                  <a:pt x="1338981" y="2806808"/>
                </a:cubicBezTo>
                <a:cubicBezTo>
                  <a:pt x="1338981" y="2806808"/>
                  <a:pt x="1338981" y="2806808"/>
                  <a:pt x="3889749" y="25500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27AFCC2-DAD5-47A8-80A2-C1F764ACAB11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968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DA7DB7-B22C-4B80-97B4-17A8ADF157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857737" y="0"/>
            <a:ext cx="6334262" cy="6858000"/>
          </a:xfrm>
          <a:custGeom>
            <a:avLst/>
            <a:gdLst>
              <a:gd name="connsiteX0" fmla="*/ 4013337 w 6334262"/>
              <a:gd name="connsiteY0" fmla="*/ 5842794 h 6858000"/>
              <a:gd name="connsiteX1" fmla="*/ 4330837 w 6334262"/>
              <a:gd name="connsiteY1" fmla="*/ 5973762 h 6858000"/>
              <a:gd name="connsiteX2" fmla="*/ 4330837 w 6334262"/>
              <a:gd name="connsiteY2" fmla="*/ 6608762 h 6858000"/>
              <a:gd name="connsiteX3" fmla="*/ 3695837 w 6334262"/>
              <a:gd name="connsiteY3" fmla="*/ 6608762 h 6858000"/>
              <a:gd name="connsiteX4" fmla="*/ 3695837 w 6334262"/>
              <a:gd name="connsiteY4" fmla="*/ 5973762 h 6858000"/>
              <a:gd name="connsiteX5" fmla="*/ 4013337 w 6334262"/>
              <a:gd name="connsiteY5" fmla="*/ 5842794 h 6858000"/>
              <a:gd name="connsiteX6" fmla="*/ 3809726 w 6334262"/>
              <a:gd name="connsiteY6" fmla="*/ 4691876 h 6858000"/>
              <a:gd name="connsiteX7" fmla="*/ 4129796 w 6334262"/>
              <a:gd name="connsiteY7" fmla="*/ 4822907 h 6858000"/>
              <a:gd name="connsiteX8" fmla="*/ 4129796 w 6334262"/>
              <a:gd name="connsiteY8" fmla="*/ 5466147 h 6858000"/>
              <a:gd name="connsiteX9" fmla="*/ 2881257 w 6334262"/>
              <a:gd name="connsiteY9" fmla="*/ 6715570 h 6858000"/>
              <a:gd name="connsiteX10" fmla="*/ 2241116 w 6334262"/>
              <a:gd name="connsiteY10" fmla="*/ 6715570 h 6858000"/>
              <a:gd name="connsiteX11" fmla="*/ 2241116 w 6334262"/>
              <a:gd name="connsiteY11" fmla="*/ 6072329 h 6858000"/>
              <a:gd name="connsiteX12" fmla="*/ 3489655 w 6334262"/>
              <a:gd name="connsiteY12" fmla="*/ 4822907 h 6858000"/>
              <a:gd name="connsiteX13" fmla="*/ 3809726 w 6334262"/>
              <a:gd name="connsiteY13" fmla="*/ 4691876 h 6858000"/>
              <a:gd name="connsiteX14" fmla="*/ 6334262 w 6334262"/>
              <a:gd name="connsiteY14" fmla="*/ 3330575 h 6858000"/>
              <a:gd name="connsiteX15" fmla="*/ 6334262 w 6334262"/>
              <a:gd name="connsiteY15" fmla="*/ 4614291 h 6858000"/>
              <a:gd name="connsiteX16" fmla="*/ 5008700 w 6334262"/>
              <a:gd name="connsiteY16" fmla="*/ 5937711 h 6858000"/>
              <a:gd name="connsiteX17" fmla="*/ 4368408 w 6334262"/>
              <a:gd name="connsiteY17" fmla="*/ 5937711 h 6858000"/>
              <a:gd name="connsiteX18" fmla="*/ 4368408 w 6334262"/>
              <a:gd name="connsiteY18" fmla="*/ 5297176 h 6858000"/>
              <a:gd name="connsiteX19" fmla="*/ 4147423 w 6334262"/>
              <a:gd name="connsiteY19" fmla="*/ 3005005 h 6858000"/>
              <a:gd name="connsiteX20" fmla="*/ 4468930 w 6334262"/>
              <a:gd name="connsiteY20" fmla="*/ 3137959 h 6858000"/>
              <a:gd name="connsiteX21" fmla="*/ 4468930 w 6334262"/>
              <a:gd name="connsiteY21" fmla="*/ 3778250 h 6858000"/>
              <a:gd name="connsiteX22" fmla="*/ 1388815 w 6334262"/>
              <a:gd name="connsiteY22" fmla="*/ 6858000 h 6858000"/>
              <a:gd name="connsiteX23" fmla="*/ 1386438 w 6334262"/>
              <a:gd name="connsiteY23" fmla="*/ 6858000 h 6858000"/>
              <a:gd name="connsiteX24" fmla="*/ 1369796 w 6334262"/>
              <a:gd name="connsiteY24" fmla="*/ 6858000 h 6858000"/>
              <a:gd name="connsiteX25" fmla="*/ 1351668 w 6334262"/>
              <a:gd name="connsiteY25" fmla="*/ 6858000 h 6858000"/>
              <a:gd name="connsiteX26" fmla="*/ 1324626 w 6334262"/>
              <a:gd name="connsiteY26" fmla="*/ 6858000 h 6858000"/>
              <a:gd name="connsiteX27" fmla="*/ 1286884 w 6334262"/>
              <a:gd name="connsiteY27" fmla="*/ 6858000 h 6858000"/>
              <a:gd name="connsiteX28" fmla="*/ 1236662 w 6334262"/>
              <a:gd name="connsiteY28" fmla="*/ 6858000 h 6858000"/>
              <a:gd name="connsiteX29" fmla="*/ 1172175 w 6334262"/>
              <a:gd name="connsiteY29" fmla="*/ 6858000 h 6858000"/>
              <a:gd name="connsiteX30" fmla="*/ 1091641 w 6334262"/>
              <a:gd name="connsiteY30" fmla="*/ 6858000 h 6858000"/>
              <a:gd name="connsiteX31" fmla="*/ 993276 w 6334262"/>
              <a:gd name="connsiteY31" fmla="*/ 6858000 h 6858000"/>
              <a:gd name="connsiteX32" fmla="*/ 875297 w 6334262"/>
              <a:gd name="connsiteY32" fmla="*/ 6858000 h 6858000"/>
              <a:gd name="connsiteX33" fmla="*/ 735922 w 6334262"/>
              <a:gd name="connsiteY33" fmla="*/ 6858000 h 6858000"/>
              <a:gd name="connsiteX34" fmla="*/ 573368 w 6334262"/>
              <a:gd name="connsiteY34" fmla="*/ 6858000 h 6858000"/>
              <a:gd name="connsiteX35" fmla="*/ 385850 w 6334262"/>
              <a:gd name="connsiteY35" fmla="*/ 6858000 h 6858000"/>
              <a:gd name="connsiteX36" fmla="*/ 171587 w 6334262"/>
              <a:gd name="connsiteY36" fmla="*/ 6858000 h 6858000"/>
              <a:gd name="connsiteX37" fmla="*/ 280079 w 6334262"/>
              <a:gd name="connsiteY37" fmla="*/ 6683375 h 6858000"/>
              <a:gd name="connsiteX38" fmla="*/ 3825916 w 6334262"/>
              <a:gd name="connsiteY38" fmla="*/ 3137959 h 6858000"/>
              <a:gd name="connsiteX39" fmla="*/ 4147423 w 6334262"/>
              <a:gd name="connsiteY39" fmla="*/ 3005005 h 6858000"/>
              <a:gd name="connsiteX40" fmla="*/ 5753797 w 6334262"/>
              <a:gd name="connsiteY40" fmla="*/ 2747852 h 6858000"/>
              <a:gd name="connsiteX41" fmla="*/ 6075418 w 6334262"/>
              <a:gd name="connsiteY41" fmla="*/ 2880867 h 6858000"/>
              <a:gd name="connsiteX42" fmla="*/ 6075418 w 6334262"/>
              <a:gd name="connsiteY42" fmla="*/ 3524107 h 6858000"/>
              <a:gd name="connsiteX43" fmla="*/ 4825995 w 6334262"/>
              <a:gd name="connsiteY43" fmla="*/ 4773530 h 6858000"/>
              <a:gd name="connsiteX44" fmla="*/ 4182754 w 6334262"/>
              <a:gd name="connsiteY44" fmla="*/ 4773530 h 6858000"/>
              <a:gd name="connsiteX45" fmla="*/ 4182754 w 6334262"/>
              <a:gd name="connsiteY45" fmla="*/ 4130289 h 6858000"/>
              <a:gd name="connsiteX46" fmla="*/ 5432177 w 6334262"/>
              <a:gd name="connsiteY46" fmla="*/ 2880867 h 6858000"/>
              <a:gd name="connsiteX47" fmla="*/ 5753797 w 6334262"/>
              <a:gd name="connsiteY47" fmla="*/ 2747852 h 6858000"/>
              <a:gd name="connsiteX48" fmla="*/ 4256015 w 6334262"/>
              <a:gd name="connsiteY48" fmla="*/ 1544501 h 6858000"/>
              <a:gd name="connsiteX49" fmla="*/ 4577448 w 6334262"/>
              <a:gd name="connsiteY49" fmla="*/ 1677439 h 6858000"/>
              <a:gd name="connsiteX50" fmla="*/ 4577448 w 6334262"/>
              <a:gd name="connsiteY50" fmla="*/ 2317660 h 6858000"/>
              <a:gd name="connsiteX51" fmla="*/ 775805 w 6334262"/>
              <a:gd name="connsiteY51" fmla="*/ 6121949 h 6858000"/>
              <a:gd name="connsiteX52" fmla="*/ 132939 w 6334262"/>
              <a:gd name="connsiteY52" fmla="*/ 6121949 h 6858000"/>
              <a:gd name="connsiteX53" fmla="*/ 132939 w 6334262"/>
              <a:gd name="connsiteY53" fmla="*/ 5479082 h 6858000"/>
              <a:gd name="connsiteX54" fmla="*/ 3934582 w 6334262"/>
              <a:gd name="connsiteY54" fmla="*/ 1677439 h 6858000"/>
              <a:gd name="connsiteX55" fmla="*/ 4256015 w 6334262"/>
              <a:gd name="connsiteY55" fmla="*/ 1544501 h 6858000"/>
              <a:gd name="connsiteX56" fmla="*/ 3595373 w 6334262"/>
              <a:gd name="connsiteY56" fmla="*/ 853935 h 6858000"/>
              <a:gd name="connsiteX57" fmla="*/ 3915470 w 6334262"/>
              <a:gd name="connsiteY57" fmla="*/ 986868 h 6858000"/>
              <a:gd name="connsiteX58" fmla="*/ 3915470 w 6334262"/>
              <a:gd name="connsiteY58" fmla="*/ 1629706 h 6858000"/>
              <a:gd name="connsiteX59" fmla="*/ 1479032 w 6334262"/>
              <a:gd name="connsiteY59" fmla="*/ 4066144 h 6858000"/>
              <a:gd name="connsiteX60" fmla="*/ 836194 w 6334262"/>
              <a:gd name="connsiteY60" fmla="*/ 4066144 h 6858000"/>
              <a:gd name="connsiteX61" fmla="*/ 836194 w 6334262"/>
              <a:gd name="connsiteY61" fmla="*/ 3425951 h 6858000"/>
              <a:gd name="connsiteX62" fmla="*/ 3275276 w 6334262"/>
              <a:gd name="connsiteY62" fmla="*/ 986868 h 6858000"/>
              <a:gd name="connsiteX63" fmla="*/ 3595373 w 6334262"/>
              <a:gd name="connsiteY63" fmla="*/ 853935 h 6858000"/>
              <a:gd name="connsiteX64" fmla="*/ 6334262 w 6334262"/>
              <a:gd name="connsiteY64" fmla="*/ 812799 h 6858000"/>
              <a:gd name="connsiteX65" fmla="*/ 6334262 w 6334262"/>
              <a:gd name="connsiteY65" fmla="*/ 1913228 h 6858000"/>
              <a:gd name="connsiteX66" fmla="*/ 5170406 w 6334262"/>
              <a:gd name="connsiteY66" fmla="*/ 3077142 h 6858000"/>
              <a:gd name="connsiteX67" fmla="*/ 4527640 w 6334262"/>
              <a:gd name="connsiteY67" fmla="*/ 3077142 h 6858000"/>
              <a:gd name="connsiteX68" fmla="*/ 4527640 w 6334262"/>
              <a:gd name="connsiteY68" fmla="*/ 2434344 h 6858000"/>
              <a:gd name="connsiteX69" fmla="*/ 6016847 w 6334262"/>
              <a:gd name="connsiteY69" fmla="*/ 945062 h 6858000"/>
              <a:gd name="connsiteX70" fmla="*/ 6334262 w 6334262"/>
              <a:gd name="connsiteY70" fmla="*/ 812799 h 6858000"/>
              <a:gd name="connsiteX71" fmla="*/ 4280302 w 6334262"/>
              <a:gd name="connsiteY71" fmla="*/ 175418 h 6858000"/>
              <a:gd name="connsiteX72" fmla="*/ 4596479 w 6334262"/>
              <a:gd name="connsiteY72" fmla="*/ 306387 h 6858000"/>
              <a:gd name="connsiteX73" fmla="*/ 4596479 w 6334262"/>
              <a:gd name="connsiteY73" fmla="*/ 941387 h 6858000"/>
              <a:gd name="connsiteX74" fmla="*/ 3964125 w 6334262"/>
              <a:gd name="connsiteY74" fmla="*/ 941387 h 6858000"/>
              <a:gd name="connsiteX75" fmla="*/ 3964125 w 6334262"/>
              <a:gd name="connsiteY75" fmla="*/ 306387 h 6858000"/>
              <a:gd name="connsiteX76" fmla="*/ 4280302 w 6334262"/>
              <a:gd name="connsiteY76" fmla="*/ 175418 h 6858000"/>
              <a:gd name="connsiteX77" fmla="*/ 2910696 w 6334262"/>
              <a:gd name="connsiteY77" fmla="*/ 0 h 6858000"/>
              <a:gd name="connsiteX78" fmla="*/ 2913203 w 6334262"/>
              <a:gd name="connsiteY78" fmla="*/ 0 h 6858000"/>
              <a:gd name="connsiteX79" fmla="*/ 2919157 w 6334262"/>
              <a:gd name="connsiteY79" fmla="*/ 0 h 6858000"/>
              <a:gd name="connsiteX80" fmla="*/ 2930753 w 6334262"/>
              <a:gd name="connsiteY80" fmla="*/ 0 h 6858000"/>
              <a:gd name="connsiteX81" fmla="*/ 2949869 w 6334262"/>
              <a:gd name="connsiteY81" fmla="*/ 0 h 6858000"/>
              <a:gd name="connsiteX82" fmla="*/ 2978387 w 6334262"/>
              <a:gd name="connsiteY82" fmla="*/ 0 h 6858000"/>
              <a:gd name="connsiteX83" fmla="*/ 3018186 w 6334262"/>
              <a:gd name="connsiteY83" fmla="*/ 0 h 6858000"/>
              <a:gd name="connsiteX84" fmla="*/ 3071148 w 6334262"/>
              <a:gd name="connsiteY84" fmla="*/ 0 h 6858000"/>
              <a:gd name="connsiteX85" fmla="*/ 3139152 w 6334262"/>
              <a:gd name="connsiteY85" fmla="*/ 0 h 6858000"/>
              <a:gd name="connsiteX86" fmla="*/ 3224079 w 6334262"/>
              <a:gd name="connsiteY86" fmla="*/ 0 h 6858000"/>
              <a:gd name="connsiteX87" fmla="*/ 3327809 w 6334262"/>
              <a:gd name="connsiteY87" fmla="*/ 0 h 6858000"/>
              <a:gd name="connsiteX88" fmla="*/ 3452222 w 6334262"/>
              <a:gd name="connsiteY88" fmla="*/ 0 h 6858000"/>
              <a:gd name="connsiteX89" fmla="*/ 3599199 w 6334262"/>
              <a:gd name="connsiteY89" fmla="*/ 0 h 6858000"/>
              <a:gd name="connsiteX90" fmla="*/ 3770619 w 6334262"/>
              <a:gd name="connsiteY90" fmla="*/ 0 h 6858000"/>
              <a:gd name="connsiteX91" fmla="*/ 3968364 w 6334262"/>
              <a:gd name="connsiteY91" fmla="*/ 0 h 6858000"/>
              <a:gd name="connsiteX92" fmla="*/ 4077695 w 6334262"/>
              <a:gd name="connsiteY92" fmla="*/ 0 h 6858000"/>
              <a:gd name="connsiteX93" fmla="*/ 4194313 w 6334262"/>
              <a:gd name="connsiteY93" fmla="*/ 0 h 6858000"/>
              <a:gd name="connsiteX94" fmla="*/ 1507981 w 6334262"/>
              <a:gd name="connsiteY94" fmla="*/ 2688167 h 6858000"/>
              <a:gd name="connsiteX95" fmla="*/ 864850 w 6334262"/>
              <a:gd name="connsiteY95" fmla="*/ 2688167 h 6858000"/>
              <a:gd name="connsiteX96" fmla="*/ 864850 w 6334262"/>
              <a:gd name="connsiteY96" fmla="*/ 2045230 h 6858000"/>
              <a:gd name="connsiteX97" fmla="*/ 2910696 w 6334262"/>
              <a:gd name="connsiteY9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6334262" h="6858000">
                <a:moveTo>
                  <a:pt x="4013337" y="5842794"/>
                </a:moveTo>
                <a:cubicBezTo>
                  <a:pt x="4128431" y="5842793"/>
                  <a:pt x="4243525" y="5886450"/>
                  <a:pt x="4330837" y="5973762"/>
                </a:cubicBezTo>
                <a:cubicBezTo>
                  <a:pt x="4505462" y="6151033"/>
                  <a:pt x="4505462" y="6434137"/>
                  <a:pt x="4330837" y="6608762"/>
                </a:cubicBezTo>
                <a:cubicBezTo>
                  <a:pt x="4156212" y="6783387"/>
                  <a:pt x="3870462" y="6783387"/>
                  <a:pt x="3695837" y="6608762"/>
                </a:cubicBezTo>
                <a:cubicBezTo>
                  <a:pt x="3521212" y="6434137"/>
                  <a:pt x="3521212" y="6151033"/>
                  <a:pt x="3695837" y="5973762"/>
                </a:cubicBezTo>
                <a:cubicBezTo>
                  <a:pt x="3783150" y="5886450"/>
                  <a:pt x="3898243" y="5842793"/>
                  <a:pt x="4013337" y="5842794"/>
                </a:cubicBezTo>
                <a:close/>
                <a:moveTo>
                  <a:pt x="3809726" y="4691876"/>
                </a:moveTo>
                <a:cubicBezTo>
                  <a:pt x="3926115" y="4691876"/>
                  <a:pt x="4042504" y="4735553"/>
                  <a:pt x="4129796" y="4822907"/>
                </a:cubicBezTo>
                <a:cubicBezTo>
                  <a:pt x="4307025" y="5000261"/>
                  <a:pt x="4307025" y="5288793"/>
                  <a:pt x="4129796" y="5466147"/>
                </a:cubicBezTo>
                <a:cubicBezTo>
                  <a:pt x="4129796" y="5466147"/>
                  <a:pt x="4129796" y="5466147"/>
                  <a:pt x="2881257" y="6715570"/>
                </a:cubicBezTo>
                <a:cubicBezTo>
                  <a:pt x="2706673" y="6892924"/>
                  <a:pt x="2415700" y="6892924"/>
                  <a:pt x="2241116" y="6715570"/>
                </a:cubicBezTo>
                <a:cubicBezTo>
                  <a:pt x="2063887" y="6538215"/>
                  <a:pt x="2063887" y="6249683"/>
                  <a:pt x="2241116" y="6072329"/>
                </a:cubicBezTo>
                <a:cubicBezTo>
                  <a:pt x="2241116" y="6072329"/>
                  <a:pt x="2241116" y="6072329"/>
                  <a:pt x="3489655" y="4822907"/>
                </a:cubicBezTo>
                <a:cubicBezTo>
                  <a:pt x="3576947" y="4735553"/>
                  <a:pt x="3693336" y="4691876"/>
                  <a:pt x="3809726" y="4691876"/>
                </a:cubicBezTo>
                <a:close/>
                <a:moveTo>
                  <a:pt x="6334262" y="3330575"/>
                </a:moveTo>
                <a:cubicBezTo>
                  <a:pt x="6334262" y="3330575"/>
                  <a:pt x="6334262" y="3330575"/>
                  <a:pt x="6334262" y="4614291"/>
                </a:cubicBezTo>
                <a:cubicBezTo>
                  <a:pt x="6334262" y="4614291"/>
                  <a:pt x="6334262" y="4614291"/>
                  <a:pt x="5008700" y="5937711"/>
                </a:cubicBezTo>
                <a:cubicBezTo>
                  <a:pt x="4834074" y="6115049"/>
                  <a:pt x="4543033" y="6115049"/>
                  <a:pt x="4368408" y="5937711"/>
                </a:cubicBezTo>
                <a:cubicBezTo>
                  <a:pt x="4191137" y="5763019"/>
                  <a:pt x="4191137" y="5474514"/>
                  <a:pt x="4368408" y="5297176"/>
                </a:cubicBezTo>
                <a:close/>
                <a:moveTo>
                  <a:pt x="4147423" y="3005005"/>
                </a:moveTo>
                <a:cubicBezTo>
                  <a:pt x="4263853" y="3005005"/>
                  <a:pt x="4380284" y="3049323"/>
                  <a:pt x="4468930" y="3137959"/>
                </a:cubicBezTo>
                <a:cubicBezTo>
                  <a:pt x="4643575" y="3312583"/>
                  <a:pt x="4643575" y="3603625"/>
                  <a:pt x="4468930" y="3778250"/>
                </a:cubicBezTo>
                <a:cubicBezTo>
                  <a:pt x="4468930" y="3778250"/>
                  <a:pt x="4468930" y="3778250"/>
                  <a:pt x="1388815" y="6858000"/>
                </a:cubicBezTo>
                <a:lnTo>
                  <a:pt x="1386438" y="6858000"/>
                </a:lnTo>
                <a:lnTo>
                  <a:pt x="1369796" y="6858000"/>
                </a:lnTo>
                <a:lnTo>
                  <a:pt x="1351668" y="6858000"/>
                </a:lnTo>
                <a:lnTo>
                  <a:pt x="1324626" y="6858000"/>
                </a:lnTo>
                <a:lnTo>
                  <a:pt x="1286884" y="6858000"/>
                </a:lnTo>
                <a:lnTo>
                  <a:pt x="1236662" y="6858000"/>
                </a:lnTo>
                <a:lnTo>
                  <a:pt x="1172175" y="6858000"/>
                </a:lnTo>
                <a:lnTo>
                  <a:pt x="1091641" y="6858000"/>
                </a:lnTo>
                <a:lnTo>
                  <a:pt x="993276" y="6858000"/>
                </a:lnTo>
                <a:lnTo>
                  <a:pt x="875297" y="6858000"/>
                </a:lnTo>
                <a:lnTo>
                  <a:pt x="735922" y="6858000"/>
                </a:lnTo>
                <a:lnTo>
                  <a:pt x="573368" y="6858000"/>
                </a:lnTo>
                <a:lnTo>
                  <a:pt x="385850" y="6858000"/>
                </a:lnTo>
                <a:lnTo>
                  <a:pt x="171587" y="6858000"/>
                </a:lnTo>
                <a:cubicBezTo>
                  <a:pt x="192756" y="6794500"/>
                  <a:pt x="229802" y="6733646"/>
                  <a:pt x="280079" y="6683375"/>
                </a:cubicBezTo>
                <a:cubicBezTo>
                  <a:pt x="280079" y="6683375"/>
                  <a:pt x="280079" y="6683375"/>
                  <a:pt x="3825916" y="3137959"/>
                </a:cubicBezTo>
                <a:cubicBezTo>
                  <a:pt x="3914562" y="3049323"/>
                  <a:pt x="4030992" y="3005005"/>
                  <a:pt x="4147423" y="3005005"/>
                </a:cubicBezTo>
                <a:close/>
                <a:moveTo>
                  <a:pt x="5753797" y="2747852"/>
                </a:moveTo>
                <a:cubicBezTo>
                  <a:pt x="5870269" y="2747852"/>
                  <a:pt x="5986740" y="2792190"/>
                  <a:pt x="6075418" y="2880867"/>
                </a:cubicBezTo>
                <a:cubicBezTo>
                  <a:pt x="6250125" y="3058222"/>
                  <a:pt x="6250125" y="3346754"/>
                  <a:pt x="6075418" y="3524107"/>
                </a:cubicBezTo>
                <a:cubicBezTo>
                  <a:pt x="6075418" y="3524107"/>
                  <a:pt x="6075418" y="3524107"/>
                  <a:pt x="4825995" y="4773530"/>
                </a:cubicBezTo>
                <a:cubicBezTo>
                  <a:pt x="4648641" y="4948237"/>
                  <a:pt x="4360109" y="4948237"/>
                  <a:pt x="4182754" y="4773530"/>
                </a:cubicBezTo>
                <a:cubicBezTo>
                  <a:pt x="4005400" y="4596175"/>
                  <a:pt x="4005400" y="4307643"/>
                  <a:pt x="4182754" y="4130289"/>
                </a:cubicBezTo>
                <a:cubicBezTo>
                  <a:pt x="4182754" y="4130289"/>
                  <a:pt x="4182754" y="4130289"/>
                  <a:pt x="5432177" y="2880867"/>
                </a:cubicBezTo>
                <a:cubicBezTo>
                  <a:pt x="5520854" y="2792190"/>
                  <a:pt x="5637325" y="2747852"/>
                  <a:pt x="5753797" y="2747852"/>
                </a:cubicBezTo>
                <a:close/>
                <a:moveTo>
                  <a:pt x="4256015" y="1544501"/>
                </a:moveTo>
                <a:cubicBezTo>
                  <a:pt x="4372419" y="1544501"/>
                  <a:pt x="4488823" y="1588814"/>
                  <a:pt x="4577448" y="1677439"/>
                </a:cubicBezTo>
                <a:cubicBezTo>
                  <a:pt x="4754700" y="1854691"/>
                  <a:pt x="4754700" y="2143055"/>
                  <a:pt x="4577448" y="2317660"/>
                </a:cubicBezTo>
                <a:cubicBezTo>
                  <a:pt x="4577448" y="2317660"/>
                  <a:pt x="4577448" y="2317660"/>
                  <a:pt x="775805" y="6121949"/>
                </a:cubicBezTo>
                <a:cubicBezTo>
                  <a:pt x="598554" y="6299200"/>
                  <a:pt x="310190" y="6299200"/>
                  <a:pt x="132939" y="6121949"/>
                </a:cubicBezTo>
                <a:cubicBezTo>
                  <a:pt x="-44313" y="5944698"/>
                  <a:pt x="-44313" y="5656333"/>
                  <a:pt x="132939" y="5479082"/>
                </a:cubicBezTo>
                <a:cubicBezTo>
                  <a:pt x="132939" y="5479082"/>
                  <a:pt x="132939" y="5479082"/>
                  <a:pt x="3934582" y="1677439"/>
                </a:cubicBezTo>
                <a:cubicBezTo>
                  <a:pt x="4023208" y="1588814"/>
                  <a:pt x="4139612" y="1544501"/>
                  <a:pt x="4256015" y="1544501"/>
                </a:cubicBezTo>
                <a:close/>
                <a:moveTo>
                  <a:pt x="3595373" y="853935"/>
                </a:moveTo>
                <a:cubicBezTo>
                  <a:pt x="3711772" y="853935"/>
                  <a:pt x="3828171" y="898246"/>
                  <a:pt x="3915470" y="986868"/>
                </a:cubicBezTo>
                <a:cubicBezTo>
                  <a:pt x="4092713" y="1164111"/>
                  <a:pt x="4092713" y="1452463"/>
                  <a:pt x="3915470" y="1629706"/>
                </a:cubicBezTo>
                <a:cubicBezTo>
                  <a:pt x="3915470" y="1629706"/>
                  <a:pt x="3915470" y="1629706"/>
                  <a:pt x="1479032" y="4066144"/>
                </a:cubicBezTo>
                <a:cubicBezTo>
                  <a:pt x="1301789" y="4243387"/>
                  <a:pt x="1013437" y="4243387"/>
                  <a:pt x="836194" y="4066144"/>
                </a:cubicBezTo>
                <a:cubicBezTo>
                  <a:pt x="658950" y="3891545"/>
                  <a:pt x="658950" y="3603194"/>
                  <a:pt x="836194" y="3425951"/>
                </a:cubicBezTo>
                <a:cubicBezTo>
                  <a:pt x="836194" y="3425951"/>
                  <a:pt x="836194" y="3425951"/>
                  <a:pt x="3275276" y="986868"/>
                </a:cubicBezTo>
                <a:cubicBezTo>
                  <a:pt x="3362575" y="898246"/>
                  <a:pt x="3478974" y="853935"/>
                  <a:pt x="3595373" y="853935"/>
                </a:cubicBezTo>
                <a:close/>
                <a:moveTo>
                  <a:pt x="6334262" y="812799"/>
                </a:moveTo>
                <a:cubicBezTo>
                  <a:pt x="6334262" y="812799"/>
                  <a:pt x="6334262" y="812799"/>
                  <a:pt x="6334262" y="1913228"/>
                </a:cubicBezTo>
                <a:cubicBezTo>
                  <a:pt x="6334262" y="1913228"/>
                  <a:pt x="6334262" y="1913228"/>
                  <a:pt x="5170406" y="3077142"/>
                </a:cubicBezTo>
                <a:cubicBezTo>
                  <a:pt x="4993183" y="3254375"/>
                  <a:pt x="4704864" y="3254375"/>
                  <a:pt x="4527640" y="3077142"/>
                </a:cubicBezTo>
                <a:cubicBezTo>
                  <a:pt x="4353062" y="2899910"/>
                  <a:pt x="4353062" y="2611577"/>
                  <a:pt x="4527640" y="2434344"/>
                </a:cubicBezTo>
                <a:lnTo>
                  <a:pt x="6016847" y="945062"/>
                </a:lnTo>
                <a:cubicBezTo>
                  <a:pt x="6104136" y="857769"/>
                  <a:pt x="6220522" y="815445"/>
                  <a:pt x="6334262" y="812799"/>
                </a:cubicBezTo>
                <a:close/>
                <a:moveTo>
                  <a:pt x="4280302" y="175418"/>
                </a:moveTo>
                <a:cubicBezTo>
                  <a:pt x="4394734" y="175418"/>
                  <a:pt x="4509167" y="219075"/>
                  <a:pt x="4596479" y="306387"/>
                </a:cubicBezTo>
                <a:cubicBezTo>
                  <a:pt x="4773750" y="481012"/>
                  <a:pt x="4773750" y="766762"/>
                  <a:pt x="4596479" y="941387"/>
                </a:cubicBezTo>
                <a:cubicBezTo>
                  <a:pt x="4421854" y="1116012"/>
                  <a:pt x="4138750" y="1116012"/>
                  <a:pt x="3964125" y="941387"/>
                </a:cubicBezTo>
                <a:cubicBezTo>
                  <a:pt x="3789500" y="766762"/>
                  <a:pt x="3789500" y="481012"/>
                  <a:pt x="3964125" y="306387"/>
                </a:cubicBezTo>
                <a:cubicBezTo>
                  <a:pt x="4051438" y="219075"/>
                  <a:pt x="4165870" y="175418"/>
                  <a:pt x="4280302" y="175418"/>
                </a:cubicBezTo>
                <a:close/>
                <a:moveTo>
                  <a:pt x="2910696" y="0"/>
                </a:moveTo>
                <a:lnTo>
                  <a:pt x="2913203" y="0"/>
                </a:lnTo>
                <a:lnTo>
                  <a:pt x="2919157" y="0"/>
                </a:lnTo>
                <a:lnTo>
                  <a:pt x="2930753" y="0"/>
                </a:lnTo>
                <a:lnTo>
                  <a:pt x="2949869" y="0"/>
                </a:lnTo>
                <a:lnTo>
                  <a:pt x="2978387" y="0"/>
                </a:lnTo>
                <a:lnTo>
                  <a:pt x="3018186" y="0"/>
                </a:lnTo>
                <a:lnTo>
                  <a:pt x="3071148" y="0"/>
                </a:lnTo>
                <a:lnTo>
                  <a:pt x="3139152" y="0"/>
                </a:lnTo>
                <a:lnTo>
                  <a:pt x="3224079" y="0"/>
                </a:lnTo>
                <a:lnTo>
                  <a:pt x="3327809" y="0"/>
                </a:lnTo>
                <a:lnTo>
                  <a:pt x="3452222" y="0"/>
                </a:lnTo>
                <a:lnTo>
                  <a:pt x="3599199" y="0"/>
                </a:lnTo>
                <a:lnTo>
                  <a:pt x="3770619" y="0"/>
                </a:lnTo>
                <a:lnTo>
                  <a:pt x="3968364" y="0"/>
                </a:lnTo>
                <a:lnTo>
                  <a:pt x="4077695" y="0"/>
                </a:lnTo>
                <a:lnTo>
                  <a:pt x="4194313" y="0"/>
                </a:lnTo>
                <a:cubicBezTo>
                  <a:pt x="4194313" y="0"/>
                  <a:pt x="4194313" y="0"/>
                  <a:pt x="1507981" y="2688167"/>
                </a:cubicBezTo>
                <a:cubicBezTo>
                  <a:pt x="1330657" y="2865438"/>
                  <a:pt x="1042174" y="2865438"/>
                  <a:pt x="864850" y="2688167"/>
                </a:cubicBezTo>
                <a:cubicBezTo>
                  <a:pt x="687525" y="2510896"/>
                  <a:pt x="687525" y="2222501"/>
                  <a:pt x="864850" y="2045230"/>
                </a:cubicBezTo>
                <a:cubicBezTo>
                  <a:pt x="864850" y="2045230"/>
                  <a:pt x="864850" y="2045230"/>
                  <a:pt x="2910696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0C4B621-CB97-4EC0-87E2-2F48A23704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814947-048E-4F21-B2A9-2E67D9CC8BDE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6C43B74-D30C-4137-BFF2-FBFBF75C833C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3183858-B3A0-46CC-A456-DA30C93DD2CA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2F80995-0F2C-4892-8CC6-4D4D83A8024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</p:spTree>
    <p:extLst>
      <p:ext uri="{BB962C8B-B14F-4D97-AF65-F5344CB8AC3E}">
        <p14:creationId xmlns:p14="http://schemas.microsoft.com/office/powerpoint/2010/main" val="832100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FFD4295F-BFEF-40BB-96E1-F34FC912306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126163" cy="6858000"/>
          </a:xfrm>
          <a:custGeom>
            <a:avLst/>
            <a:gdLst>
              <a:gd name="connsiteX0" fmla="*/ 4652238 w 6126163"/>
              <a:gd name="connsiteY0" fmla="*/ 1812535 h 6858000"/>
              <a:gd name="connsiteX1" fmla="*/ 5095371 w 6126163"/>
              <a:gd name="connsiteY1" fmla="*/ 1997101 h 6858000"/>
              <a:gd name="connsiteX2" fmla="*/ 5095371 w 6126163"/>
              <a:gd name="connsiteY2" fmla="*/ 2883547 h 6858000"/>
              <a:gd name="connsiteX3" fmla="*/ 1482731 w 6126163"/>
              <a:gd name="connsiteY3" fmla="*/ 6496919 h 6858000"/>
              <a:gd name="connsiteX4" fmla="*/ 1121723 w 6126163"/>
              <a:gd name="connsiteY4" fmla="*/ 6858000 h 6858000"/>
              <a:gd name="connsiteX5" fmla="*/ 0 w 6126163"/>
              <a:gd name="connsiteY5" fmla="*/ 6858000 h 6858000"/>
              <a:gd name="connsiteX6" fmla="*/ 0 w 6126163"/>
              <a:gd name="connsiteY6" fmla="*/ 6856730 h 6858000"/>
              <a:gd name="connsiteX7" fmla="*/ 0 w 6126163"/>
              <a:gd name="connsiteY7" fmla="*/ 6847830 h 6858000"/>
              <a:gd name="connsiteX8" fmla="*/ 0 w 6126163"/>
              <a:gd name="connsiteY8" fmla="*/ 6823674 h 6858000"/>
              <a:gd name="connsiteX9" fmla="*/ 0 w 6126163"/>
              <a:gd name="connsiteY9" fmla="*/ 6776633 h 6858000"/>
              <a:gd name="connsiteX10" fmla="*/ 0 w 6126163"/>
              <a:gd name="connsiteY10" fmla="*/ 6742148 h 6858000"/>
              <a:gd name="connsiteX11" fmla="*/ 0 w 6126163"/>
              <a:gd name="connsiteY11" fmla="*/ 6699080 h 6858000"/>
              <a:gd name="connsiteX12" fmla="*/ 0 w 6126163"/>
              <a:gd name="connsiteY12" fmla="*/ 6646477 h 6858000"/>
              <a:gd name="connsiteX13" fmla="*/ 0 w 6126163"/>
              <a:gd name="connsiteY13" fmla="*/ 6583385 h 6858000"/>
              <a:gd name="connsiteX14" fmla="*/ 0 w 6126163"/>
              <a:gd name="connsiteY14" fmla="*/ 6508851 h 6858000"/>
              <a:gd name="connsiteX15" fmla="*/ 0 w 6126163"/>
              <a:gd name="connsiteY15" fmla="*/ 6421921 h 6858000"/>
              <a:gd name="connsiteX16" fmla="*/ 0 w 6126163"/>
              <a:gd name="connsiteY16" fmla="*/ 6321642 h 6858000"/>
              <a:gd name="connsiteX17" fmla="*/ 0 w 6126163"/>
              <a:gd name="connsiteY17" fmla="*/ 6207059 h 6858000"/>
              <a:gd name="connsiteX18" fmla="*/ 4209104 w 6126163"/>
              <a:gd name="connsiteY18" fmla="*/ 1997101 h 6858000"/>
              <a:gd name="connsiteX19" fmla="*/ 4652238 w 6126163"/>
              <a:gd name="connsiteY19" fmla="*/ 1812535 h 6858000"/>
              <a:gd name="connsiteX20" fmla="*/ 2968625 w 6126163"/>
              <a:gd name="connsiteY20" fmla="*/ 0 h 6858000"/>
              <a:gd name="connsiteX21" fmla="*/ 6126163 w 6126163"/>
              <a:gd name="connsiteY21" fmla="*/ 0 h 6858000"/>
              <a:gd name="connsiteX22" fmla="*/ 0 w 6126163"/>
              <a:gd name="connsiteY22" fmla="*/ 6127750 h 6858000"/>
              <a:gd name="connsiteX23" fmla="*/ 0 w 6126163"/>
              <a:gd name="connsiteY23" fmla="*/ 2968625 h 6858000"/>
              <a:gd name="connsiteX24" fmla="*/ 1129242 w 6126163"/>
              <a:gd name="connsiteY24" fmla="*/ 0 h 6858000"/>
              <a:gd name="connsiteX25" fmla="*/ 1132705 w 6126163"/>
              <a:gd name="connsiteY25" fmla="*/ 0 h 6858000"/>
              <a:gd name="connsiteX26" fmla="*/ 1140928 w 6126163"/>
              <a:gd name="connsiteY26" fmla="*/ 0 h 6858000"/>
              <a:gd name="connsiteX27" fmla="*/ 1156941 w 6126163"/>
              <a:gd name="connsiteY27" fmla="*/ 0 h 6858000"/>
              <a:gd name="connsiteX28" fmla="*/ 1183341 w 6126163"/>
              <a:gd name="connsiteY28" fmla="*/ 0 h 6858000"/>
              <a:gd name="connsiteX29" fmla="*/ 1222725 w 6126163"/>
              <a:gd name="connsiteY29" fmla="*/ 0 h 6858000"/>
              <a:gd name="connsiteX30" fmla="*/ 1277689 w 6126163"/>
              <a:gd name="connsiteY30" fmla="*/ 0 h 6858000"/>
              <a:gd name="connsiteX31" fmla="*/ 1350831 w 6126163"/>
              <a:gd name="connsiteY31" fmla="*/ 0 h 6858000"/>
              <a:gd name="connsiteX32" fmla="*/ 1444746 w 6126163"/>
              <a:gd name="connsiteY32" fmla="*/ 0 h 6858000"/>
              <a:gd name="connsiteX33" fmla="*/ 1562032 w 6126163"/>
              <a:gd name="connsiteY33" fmla="*/ 0 h 6858000"/>
              <a:gd name="connsiteX34" fmla="*/ 1705286 w 6126163"/>
              <a:gd name="connsiteY34" fmla="*/ 0 h 6858000"/>
              <a:gd name="connsiteX35" fmla="*/ 1787462 w 6126163"/>
              <a:gd name="connsiteY35" fmla="*/ 0 h 6858000"/>
              <a:gd name="connsiteX36" fmla="*/ 1877103 w 6126163"/>
              <a:gd name="connsiteY36" fmla="*/ 0 h 6858000"/>
              <a:gd name="connsiteX37" fmla="*/ 1974535 w 6126163"/>
              <a:gd name="connsiteY37" fmla="*/ 0 h 6858000"/>
              <a:gd name="connsiteX38" fmla="*/ 2080082 w 6126163"/>
              <a:gd name="connsiteY38" fmla="*/ 0 h 6858000"/>
              <a:gd name="connsiteX39" fmla="*/ 2194068 w 6126163"/>
              <a:gd name="connsiteY39" fmla="*/ 0 h 6858000"/>
              <a:gd name="connsiteX40" fmla="*/ 2316818 w 6126163"/>
              <a:gd name="connsiteY40" fmla="*/ 0 h 6858000"/>
              <a:gd name="connsiteX41" fmla="*/ 2448657 w 6126163"/>
              <a:gd name="connsiteY41" fmla="*/ 0 h 6858000"/>
              <a:gd name="connsiteX42" fmla="*/ 2589909 w 6126163"/>
              <a:gd name="connsiteY42" fmla="*/ 0 h 6858000"/>
              <a:gd name="connsiteX43" fmla="*/ 2740898 w 6126163"/>
              <a:gd name="connsiteY43" fmla="*/ 0 h 6858000"/>
              <a:gd name="connsiteX44" fmla="*/ 2901950 w 6126163"/>
              <a:gd name="connsiteY44" fmla="*/ 0 h 6858000"/>
              <a:gd name="connsiteX45" fmla="*/ 1176867 w 6126163"/>
              <a:gd name="connsiteY45" fmla="*/ 1728193 h 6858000"/>
              <a:gd name="connsiteX46" fmla="*/ 287867 w 6126163"/>
              <a:gd name="connsiteY46" fmla="*/ 1728193 h 6858000"/>
              <a:gd name="connsiteX47" fmla="*/ 287867 w 6126163"/>
              <a:gd name="connsiteY47" fmla="*/ 841601 h 6858000"/>
              <a:gd name="connsiteX48" fmla="*/ 1129242 w 6126163"/>
              <a:gd name="connsiteY4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126163" h="6858000">
                <a:moveTo>
                  <a:pt x="4652238" y="1812535"/>
                </a:moveTo>
                <a:cubicBezTo>
                  <a:pt x="4812956" y="1812535"/>
                  <a:pt x="4973675" y="1874057"/>
                  <a:pt x="5095371" y="1997101"/>
                </a:cubicBezTo>
                <a:cubicBezTo>
                  <a:pt x="5338763" y="2240543"/>
                  <a:pt x="5338763" y="2637459"/>
                  <a:pt x="5095371" y="2883547"/>
                </a:cubicBezTo>
                <a:cubicBezTo>
                  <a:pt x="5095371" y="2883547"/>
                  <a:pt x="5095371" y="2883547"/>
                  <a:pt x="1482731" y="6496919"/>
                </a:cubicBezTo>
                <a:lnTo>
                  <a:pt x="1121723" y="6858000"/>
                </a:lnTo>
                <a:lnTo>
                  <a:pt x="0" y="6858000"/>
                </a:lnTo>
                <a:lnTo>
                  <a:pt x="0" y="6856730"/>
                </a:lnTo>
                <a:lnTo>
                  <a:pt x="0" y="6847830"/>
                </a:lnTo>
                <a:lnTo>
                  <a:pt x="0" y="6823674"/>
                </a:lnTo>
                <a:lnTo>
                  <a:pt x="0" y="6776633"/>
                </a:lnTo>
                <a:lnTo>
                  <a:pt x="0" y="6742148"/>
                </a:lnTo>
                <a:lnTo>
                  <a:pt x="0" y="6699080"/>
                </a:lnTo>
                <a:lnTo>
                  <a:pt x="0" y="6646477"/>
                </a:lnTo>
                <a:lnTo>
                  <a:pt x="0" y="6583385"/>
                </a:lnTo>
                <a:lnTo>
                  <a:pt x="0" y="6508851"/>
                </a:lnTo>
                <a:lnTo>
                  <a:pt x="0" y="6421921"/>
                </a:lnTo>
                <a:lnTo>
                  <a:pt x="0" y="6321642"/>
                </a:lnTo>
                <a:lnTo>
                  <a:pt x="0" y="6207059"/>
                </a:lnTo>
                <a:cubicBezTo>
                  <a:pt x="0" y="6207059"/>
                  <a:pt x="0" y="6207059"/>
                  <a:pt x="4209104" y="1997101"/>
                </a:cubicBezTo>
                <a:cubicBezTo>
                  <a:pt x="4330800" y="1874057"/>
                  <a:pt x="4491519" y="1812535"/>
                  <a:pt x="4652238" y="1812535"/>
                </a:cubicBezTo>
                <a:close/>
                <a:moveTo>
                  <a:pt x="2968625" y="0"/>
                </a:moveTo>
                <a:lnTo>
                  <a:pt x="6126163" y="0"/>
                </a:lnTo>
                <a:lnTo>
                  <a:pt x="0" y="6127750"/>
                </a:lnTo>
                <a:lnTo>
                  <a:pt x="0" y="2968625"/>
                </a:lnTo>
                <a:close/>
                <a:moveTo>
                  <a:pt x="1129242" y="0"/>
                </a:moveTo>
                <a:lnTo>
                  <a:pt x="1132705" y="0"/>
                </a:lnTo>
                <a:lnTo>
                  <a:pt x="1140928" y="0"/>
                </a:lnTo>
                <a:lnTo>
                  <a:pt x="1156941" y="0"/>
                </a:lnTo>
                <a:lnTo>
                  <a:pt x="1183341" y="0"/>
                </a:lnTo>
                <a:lnTo>
                  <a:pt x="1222725" y="0"/>
                </a:lnTo>
                <a:lnTo>
                  <a:pt x="1277689" y="0"/>
                </a:lnTo>
                <a:lnTo>
                  <a:pt x="1350831" y="0"/>
                </a:lnTo>
                <a:lnTo>
                  <a:pt x="1444746" y="0"/>
                </a:lnTo>
                <a:lnTo>
                  <a:pt x="1562032" y="0"/>
                </a:lnTo>
                <a:lnTo>
                  <a:pt x="1705286" y="0"/>
                </a:lnTo>
                <a:lnTo>
                  <a:pt x="1787462" y="0"/>
                </a:lnTo>
                <a:lnTo>
                  <a:pt x="1877103" y="0"/>
                </a:lnTo>
                <a:lnTo>
                  <a:pt x="1974535" y="0"/>
                </a:lnTo>
                <a:lnTo>
                  <a:pt x="2080082" y="0"/>
                </a:lnTo>
                <a:lnTo>
                  <a:pt x="2194068" y="0"/>
                </a:lnTo>
                <a:lnTo>
                  <a:pt x="2316818" y="0"/>
                </a:lnTo>
                <a:lnTo>
                  <a:pt x="2448657" y="0"/>
                </a:lnTo>
                <a:lnTo>
                  <a:pt x="2589909" y="0"/>
                </a:lnTo>
                <a:lnTo>
                  <a:pt x="2740898" y="0"/>
                </a:lnTo>
                <a:lnTo>
                  <a:pt x="2901950" y="0"/>
                </a:lnTo>
                <a:cubicBezTo>
                  <a:pt x="2901950" y="0"/>
                  <a:pt x="2901950" y="0"/>
                  <a:pt x="1176867" y="1728193"/>
                </a:cubicBezTo>
                <a:cubicBezTo>
                  <a:pt x="930804" y="1971675"/>
                  <a:pt x="533929" y="1971675"/>
                  <a:pt x="287867" y="1728193"/>
                </a:cubicBezTo>
                <a:cubicBezTo>
                  <a:pt x="44450" y="1484711"/>
                  <a:pt x="44450" y="1085083"/>
                  <a:pt x="287867" y="841601"/>
                </a:cubicBezTo>
                <a:cubicBezTo>
                  <a:pt x="287867" y="841601"/>
                  <a:pt x="287867" y="841601"/>
                  <a:pt x="1129242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577C4B3-1DF5-42C4-88D3-7A8FDF1437CE}"/>
              </a:ext>
            </a:extLst>
          </p:cNvPr>
          <p:cNvSpPr txBox="1"/>
          <p:nvPr userDrawn="1"/>
        </p:nvSpPr>
        <p:spPr bwMode="black">
          <a:xfrm>
            <a:off x="731520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1E827BD4-C372-4180-AA85-8A9DEF2FFB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9F2E8CDF-5D20-4D7F-A039-FA664F07CF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98E6AE06-6C45-4DED-9551-699DA73FFB4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910A531-85B9-4009-BD82-A503C2912A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20" name="Freeform 13">
            <a:extLst>
              <a:ext uri="{FF2B5EF4-FFF2-40B4-BE49-F238E27FC236}">
                <a16:creationId xmlns:a16="http://schemas.microsoft.com/office/drawing/2014/main" id="{FCFE8574-3DDA-44E9-B82B-2F9AA30C2615}"/>
              </a:ext>
            </a:extLst>
          </p:cNvPr>
          <p:cNvSpPr>
            <a:spLocks/>
          </p:cNvSpPr>
          <p:nvPr userDrawn="1"/>
        </p:nvSpPr>
        <p:spPr bwMode="auto">
          <a:xfrm>
            <a:off x="0" y="1666875"/>
            <a:ext cx="455613" cy="1235075"/>
          </a:xfrm>
          <a:custGeom>
            <a:avLst/>
            <a:gdLst>
              <a:gd name="T0" fmla="*/ 80 w 172"/>
              <a:gd name="T1" fmla="*/ 53 h 467"/>
              <a:gd name="T2" fmla="*/ 80 w 172"/>
              <a:gd name="T3" fmla="*/ 53 h 467"/>
              <a:gd name="T4" fmla="*/ 0 w 172"/>
              <a:gd name="T5" fmla="*/ 0 h 467"/>
              <a:gd name="T6" fmla="*/ 0 w 172"/>
              <a:gd name="T7" fmla="*/ 467 h 467"/>
              <a:gd name="T8" fmla="*/ 80 w 172"/>
              <a:gd name="T9" fmla="*/ 388 h 467"/>
              <a:gd name="T10" fmla="*/ 80 w 172"/>
              <a:gd name="T11" fmla="*/ 53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2" h="467">
                <a:moveTo>
                  <a:pt x="80" y="53"/>
                </a:moveTo>
                <a:cubicBezTo>
                  <a:pt x="80" y="53"/>
                  <a:pt x="80" y="53"/>
                  <a:pt x="80" y="53"/>
                </a:cubicBezTo>
                <a:cubicBezTo>
                  <a:pt x="56" y="29"/>
                  <a:pt x="29" y="12"/>
                  <a:pt x="0" y="0"/>
                </a:cubicBezTo>
                <a:cubicBezTo>
                  <a:pt x="0" y="467"/>
                  <a:pt x="0" y="467"/>
                  <a:pt x="0" y="467"/>
                </a:cubicBezTo>
                <a:cubicBezTo>
                  <a:pt x="80" y="388"/>
                  <a:pt x="80" y="388"/>
                  <a:pt x="80" y="388"/>
                </a:cubicBezTo>
                <a:cubicBezTo>
                  <a:pt x="172" y="295"/>
                  <a:pt x="172" y="145"/>
                  <a:pt x="80" y="53"/>
                </a:cubicBezTo>
                <a:close/>
              </a:path>
            </a:pathLst>
          </a:custGeom>
          <a:solidFill>
            <a:srgbClr val="F4F4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/>
          </a:p>
        </p:txBody>
      </p:sp>
      <p:sp>
        <p:nvSpPr>
          <p:cNvPr id="32" name="Freeform 17">
            <a:extLst>
              <a:ext uri="{FF2B5EF4-FFF2-40B4-BE49-F238E27FC236}">
                <a16:creationId xmlns:a16="http://schemas.microsoft.com/office/drawing/2014/main" id="{EBE5F009-828D-4CEF-96D5-43F75AD903F9}"/>
              </a:ext>
            </a:extLst>
          </p:cNvPr>
          <p:cNvSpPr>
            <a:spLocks/>
          </p:cNvSpPr>
          <p:nvPr userDrawn="1"/>
        </p:nvSpPr>
        <p:spPr bwMode="auto">
          <a:xfrm>
            <a:off x="4938713" y="0"/>
            <a:ext cx="3021013" cy="2154238"/>
          </a:xfrm>
          <a:custGeom>
            <a:avLst/>
            <a:gdLst>
              <a:gd name="T0" fmla="*/ 92 w 1142"/>
              <a:gd name="T1" fmla="*/ 722 h 814"/>
              <a:gd name="T2" fmla="*/ 92 w 1142"/>
              <a:gd name="T3" fmla="*/ 722 h 814"/>
              <a:gd name="T4" fmla="*/ 427 w 1142"/>
              <a:gd name="T5" fmla="*/ 722 h 814"/>
              <a:gd name="T6" fmla="*/ 1111 w 1142"/>
              <a:gd name="T7" fmla="*/ 38 h 814"/>
              <a:gd name="T8" fmla="*/ 1142 w 1142"/>
              <a:gd name="T9" fmla="*/ 0 h 814"/>
              <a:gd name="T10" fmla="*/ 479 w 1142"/>
              <a:gd name="T11" fmla="*/ 0 h 814"/>
              <a:gd name="T12" fmla="*/ 92 w 1142"/>
              <a:gd name="T13" fmla="*/ 387 h 814"/>
              <a:gd name="T14" fmla="*/ 92 w 1142"/>
              <a:gd name="T15" fmla="*/ 722 h 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42" h="814">
                <a:moveTo>
                  <a:pt x="92" y="722"/>
                </a:moveTo>
                <a:cubicBezTo>
                  <a:pt x="92" y="722"/>
                  <a:pt x="92" y="722"/>
                  <a:pt x="92" y="722"/>
                </a:cubicBezTo>
                <a:cubicBezTo>
                  <a:pt x="184" y="814"/>
                  <a:pt x="335" y="814"/>
                  <a:pt x="427" y="722"/>
                </a:cubicBezTo>
                <a:cubicBezTo>
                  <a:pt x="1111" y="38"/>
                  <a:pt x="1111" y="38"/>
                  <a:pt x="1111" y="38"/>
                </a:cubicBezTo>
                <a:cubicBezTo>
                  <a:pt x="1123" y="26"/>
                  <a:pt x="1133" y="13"/>
                  <a:pt x="1142" y="0"/>
                </a:cubicBezTo>
                <a:cubicBezTo>
                  <a:pt x="479" y="0"/>
                  <a:pt x="479" y="0"/>
                  <a:pt x="479" y="0"/>
                </a:cubicBezTo>
                <a:cubicBezTo>
                  <a:pt x="92" y="387"/>
                  <a:pt x="92" y="387"/>
                  <a:pt x="92" y="387"/>
                </a:cubicBezTo>
                <a:cubicBezTo>
                  <a:pt x="0" y="479"/>
                  <a:pt x="0" y="630"/>
                  <a:pt x="92" y="722"/>
                </a:cubicBezTo>
                <a:close/>
              </a:path>
            </a:pathLst>
          </a:custGeom>
          <a:solidFill>
            <a:srgbClr val="F4F4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002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g05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CD4BCDB-D5A1-4262-8420-612F707BF2C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68658" y="0"/>
            <a:ext cx="7420167" cy="6185064"/>
          </a:xfrm>
          <a:custGeom>
            <a:avLst/>
            <a:gdLst>
              <a:gd name="connsiteX0" fmla="*/ 880919 w 7420167"/>
              <a:gd name="connsiteY0" fmla="*/ 0 h 6185064"/>
              <a:gd name="connsiteX1" fmla="*/ 7420167 w 7420167"/>
              <a:gd name="connsiteY1" fmla="*/ 0 h 6185064"/>
              <a:gd name="connsiteX2" fmla="*/ 7420167 w 7420167"/>
              <a:gd name="connsiteY2" fmla="*/ 4066168 h 6185064"/>
              <a:gd name="connsiteX3" fmla="*/ 5539556 w 7420167"/>
              <a:gd name="connsiteY3" fmla="*/ 5947431 h 6185064"/>
              <a:gd name="connsiteX4" fmla="*/ 4384794 w 7420167"/>
              <a:gd name="connsiteY4" fmla="*/ 5947431 h 6185064"/>
              <a:gd name="connsiteX5" fmla="*/ 237552 w 7420167"/>
              <a:gd name="connsiteY5" fmla="*/ 1798751 h 6185064"/>
              <a:gd name="connsiteX6" fmla="*/ 237552 w 7420167"/>
              <a:gd name="connsiteY6" fmla="*/ 643590 h 6185064"/>
              <a:gd name="connsiteX7" fmla="*/ 880919 w 7420167"/>
              <a:gd name="connsiteY7" fmla="*/ 0 h 618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20167" h="6185064">
                <a:moveTo>
                  <a:pt x="880919" y="0"/>
                </a:moveTo>
                <a:lnTo>
                  <a:pt x="7420167" y="0"/>
                </a:lnTo>
                <a:cubicBezTo>
                  <a:pt x="7420167" y="0"/>
                  <a:pt x="7420167" y="0"/>
                  <a:pt x="7420167" y="4066168"/>
                </a:cubicBezTo>
                <a:cubicBezTo>
                  <a:pt x="7420167" y="4066168"/>
                  <a:pt x="7420167" y="4066168"/>
                  <a:pt x="5539556" y="5947431"/>
                </a:cubicBezTo>
                <a:cubicBezTo>
                  <a:pt x="5222821" y="6264275"/>
                  <a:pt x="4701529" y="6264275"/>
                  <a:pt x="4384794" y="5947431"/>
                </a:cubicBezTo>
                <a:cubicBezTo>
                  <a:pt x="4384794" y="5947431"/>
                  <a:pt x="4384794" y="5947431"/>
                  <a:pt x="237552" y="1798751"/>
                </a:cubicBezTo>
                <a:cubicBezTo>
                  <a:pt x="-79183" y="1478607"/>
                  <a:pt x="-79183" y="960434"/>
                  <a:pt x="237552" y="643590"/>
                </a:cubicBezTo>
                <a:cubicBezTo>
                  <a:pt x="237552" y="643590"/>
                  <a:pt x="237552" y="643590"/>
                  <a:pt x="880919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0C4B621-CB97-4EC0-87E2-2F48A23704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814947-048E-4F21-B2A9-2E67D9CC8BDE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6C43B74-D30C-4137-BFF2-FBFBF75C83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3183858-B3A0-46CC-A456-DA30C93DD2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2F80995-0F2C-4892-8CC6-4D4D83A80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</p:spTree>
    <p:extLst>
      <p:ext uri="{BB962C8B-B14F-4D97-AF65-F5344CB8AC3E}">
        <p14:creationId xmlns:p14="http://schemas.microsoft.com/office/powerpoint/2010/main" val="3373900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Img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E47C2730-F629-4D6E-BE5B-C2E55D631223}"/>
              </a:ext>
            </a:extLst>
          </p:cNvPr>
          <p:cNvSpPr>
            <a:spLocks/>
          </p:cNvSpPr>
          <p:nvPr userDrawn="1"/>
        </p:nvSpPr>
        <p:spPr bwMode="auto">
          <a:xfrm>
            <a:off x="9337675" y="0"/>
            <a:ext cx="2857500" cy="2717800"/>
          </a:xfrm>
          <a:custGeom>
            <a:avLst/>
            <a:gdLst>
              <a:gd name="T0" fmla="*/ 445 w 1080"/>
              <a:gd name="T1" fmla="*/ 0 h 1027"/>
              <a:gd name="T2" fmla="*/ 160 w 1080"/>
              <a:gd name="T3" fmla="*/ 285 h 1027"/>
              <a:gd name="T4" fmla="*/ 160 w 1080"/>
              <a:gd name="T5" fmla="*/ 867 h 1027"/>
              <a:gd name="T6" fmla="*/ 742 w 1080"/>
              <a:gd name="T7" fmla="*/ 867 h 1027"/>
              <a:gd name="T8" fmla="*/ 1080 w 1080"/>
              <a:gd name="T9" fmla="*/ 529 h 1027"/>
              <a:gd name="T10" fmla="*/ 1080 w 1080"/>
              <a:gd name="T11" fmla="*/ 0 h 1027"/>
              <a:gd name="T12" fmla="*/ 445 w 1080"/>
              <a:gd name="T13" fmla="*/ 0 h 1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80" h="1027">
                <a:moveTo>
                  <a:pt x="445" y="0"/>
                </a:moveTo>
                <a:cubicBezTo>
                  <a:pt x="160" y="285"/>
                  <a:pt x="160" y="285"/>
                  <a:pt x="160" y="285"/>
                </a:cubicBezTo>
                <a:cubicBezTo>
                  <a:pt x="0" y="445"/>
                  <a:pt x="0" y="707"/>
                  <a:pt x="160" y="867"/>
                </a:cubicBezTo>
                <a:cubicBezTo>
                  <a:pt x="320" y="1027"/>
                  <a:pt x="582" y="1027"/>
                  <a:pt x="742" y="867"/>
                </a:cubicBezTo>
                <a:cubicBezTo>
                  <a:pt x="1080" y="529"/>
                  <a:pt x="1080" y="529"/>
                  <a:pt x="1080" y="529"/>
                </a:cubicBezTo>
                <a:cubicBezTo>
                  <a:pt x="1080" y="0"/>
                  <a:pt x="1080" y="0"/>
                  <a:pt x="1080" y="0"/>
                </a:cubicBezTo>
                <a:lnTo>
                  <a:pt x="445" y="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4927313-E453-46DB-8A00-AE661AA4C1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081589" y="1257474"/>
            <a:ext cx="7110411" cy="5600527"/>
          </a:xfrm>
          <a:custGeom>
            <a:avLst/>
            <a:gdLst>
              <a:gd name="connsiteX0" fmla="*/ 6435987 w 7110411"/>
              <a:gd name="connsiteY0" fmla="*/ 200 h 5600527"/>
              <a:gd name="connsiteX1" fmla="*/ 6981741 w 7110411"/>
              <a:gd name="connsiteY1" fmla="*/ 85856 h 5600527"/>
              <a:gd name="connsiteX2" fmla="*/ 7110411 w 7110411"/>
              <a:gd name="connsiteY2" fmla="*/ 130489 h 5600527"/>
              <a:gd name="connsiteX3" fmla="*/ 7110411 w 7110411"/>
              <a:gd name="connsiteY3" fmla="*/ 3976517 h 5600527"/>
              <a:gd name="connsiteX4" fmla="*/ 7110409 w 7110411"/>
              <a:gd name="connsiteY4" fmla="*/ 3976518 h 5600527"/>
              <a:gd name="connsiteX5" fmla="*/ 5634450 w 7110411"/>
              <a:gd name="connsiteY5" fmla="*/ 5452697 h 5600527"/>
              <a:gd name="connsiteX6" fmla="*/ 5486642 w 7110411"/>
              <a:gd name="connsiteY6" fmla="*/ 5600527 h 5600527"/>
              <a:gd name="connsiteX7" fmla="*/ 0 w 7110411"/>
              <a:gd name="connsiteY7" fmla="*/ 5600527 h 5600527"/>
              <a:gd name="connsiteX8" fmla="*/ 1228 w 7110411"/>
              <a:gd name="connsiteY8" fmla="*/ 5599299 h 5600527"/>
              <a:gd name="connsiteX9" fmla="*/ 5034271 w 7110411"/>
              <a:gd name="connsiteY9" fmla="*/ 565507 h 5600527"/>
              <a:gd name="connsiteX10" fmla="*/ 6435987 w 7110411"/>
              <a:gd name="connsiteY10" fmla="*/ 200 h 5600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10411" h="5600527">
                <a:moveTo>
                  <a:pt x="6435987" y="200"/>
                </a:moveTo>
                <a:cubicBezTo>
                  <a:pt x="6620272" y="2827"/>
                  <a:pt x="6804215" y="31366"/>
                  <a:pt x="6981741" y="85856"/>
                </a:cubicBezTo>
                <a:lnTo>
                  <a:pt x="7110411" y="130489"/>
                </a:lnTo>
                <a:lnTo>
                  <a:pt x="7110411" y="3976517"/>
                </a:lnTo>
                <a:lnTo>
                  <a:pt x="7110409" y="3976518"/>
                </a:lnTo>
                <a:cubicBezTo>
                  <a:pt x="7088960" y="3997971"/>
                  <a:pt x="6922731" y="4164225"/>
                  <a:pt x="5634450" y="5452697"/>
                </a:cubicBezTo>
                <a:lnTo>
                  <a:pt x="5486642" y="5600527"/>
                </a:lnTo>
                <a:lnTo>
                  <a:pt x="0" y="5600527"/>
                </a:lnTo>
                <a:lnTo>
                  <a:pt x="1228" y="5599299"/>
                </a:lnTo>
                <a:cubicBezTo>
                  <a:pt x="19664" y="5580860"/>
                  <a:pt x="314641" y="5285839"/>
                  <a:pt x="5034271" y="565507"/>
                </a:cubicBezTo>
                <a:cubicBezTo>
                  <a:pt x="5419844" y="181696"/>
                  <a:pt x="5929205" y="-7027"/>
                  <a:pt x="6435987" y="20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change photo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27AFCC2-DAD5-47A8-80A2-C1F764ACAB11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2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7" name="Freeform 6">
            <a:extLst>
              <a:ext uri="{FF2B5EF4-FFF2-40B4-BE49-F238E27FC236}">
                <a16:creationId xmlns:a16="http://schemas.microsoft.com/office/drawing/2014/main" id="{53B87BA2-34D6-4B9D-A0FF-47B82811DE0E}"/>
              </a:ext>
            </a:extLst>
          </p:cNvPr>
          <p:cNvSpPr>
            <a:spLocks/>
          </p:cNvSpPr>
          <p:nvPr userDrawn="1"/>
        </p:nvSpPr>
        <p:spPr bwMode="auto">
          <a:xfrm>
            <a:off x="3657600" y="1952625"/>
            <a:ext cx="6442075" cy="4905375"/>
          </a:xfrm>
          <a:custGeom>
            <a:avLst/>
            <a:gdLst>
              <a:gd name="T0" fmla="*/ 2275 w 2435"/>
              <a:gd name="T1" fmla="*/ 160 h 1854"/>
              <a:gd name="T2" fmla="*/ 2275 w 2435"/>
              <a:gd name="T3" fmla="*/ 160 h 1854"/>
              <a:gd name="T4" fmla="*/ 1694 w 2435"/>
              <a:gd name="T5" fmla="*/ 160 h 1854"/>
              <a:gd name="T6" fmla="*/ 11 w 2435"/>
              <a:gd name="T7" fmla="*/ 1843 h 1854"/>
              <a:gd name="T8" fmla="*/ 0 w 2435"/>
              <a:gd name="T9" fmla="*/ 1854 h 1854"/>
              <a:gd name="T10" fmla="*/ 1164 w 2435"/>
              <a:gd name="T11" fmla="*/ 1854 h 1854"/>
              <a:gd name="T12" fmla="*/ 2275 w 2435"/>
              <a:gd name="T13" fmla="*/ 742 h 1854"/>
              <a:gd name="T14" fmla="*/ 2275 w 2435"/>
              <a:gd name="T15" fmla="*/ 160 h 18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35" h="1854">
                <a:moveTo>
                  <a:pt x="2275" y="160"/>
                </a:moveTo>
                <a:cubicBezTo>
                  <a:pt x="2275" y="160"/>
                  <a:pt x="2275" y="160"/>
                  <a:pt x="2275" y="160"/>
                </a:cubicBezTo>
                <a:cubicBezTo>
                  <a:pt x="2115" y="0"/>
                  <a:pt x="1854" y="0"/>
                  <a:pt x="1694" y="160"/>
                </a:cubicBezTo>
                <a:cubicBezTo>
                  <a:pt x="11" y="1843"/>
                  <a:pt x="11" y="1843"/>
                  <a:pt x="11" y="1843"/>
                </a:cubicBezTo>
                <a:cubicBezTo>
                  <a:pt x="7" y="1847"/>
                  <a:pt x="4" y="1850"/>
                  <a:pt x="0" y="1854"/>
                </a:cubicBezTo>
                <a:cubicBezTo>
                  <a:pt x="1164" y="1854"/>
                  <a:pt x="1164" y="1854"/>
                  <a:pt x="1164" y="1854"/>
                </a:cubicBezTo>
                <a:cubicBezTo>
                  <a:pt x="2275" y="742"/>
                  <a:pt x="2275" y="742"/>
                  <a:pt x="2275" y="742"/>
                </a:cubicBezTo>
                <a:cubicBezTo>
                  <a:pt x="2435" y="582"/>
                  <a:pt x="2435" y="320"/>
                  <a:pt x="2275" y="16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47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2.2.2)</a:t>
            </a:r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5% Charcoal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Indigo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62" r:id="rId4"/>
    <p:sldLayoutId id="2147484263" r:id="rId5"/>
    <p:sldLayoutId id="2147484264" r:id="rId6"/>
    <p:sldLayoutId id="2147484265" r:id="rId7"/>
    <p:sldLayoutId id="2147484266" r:id="rId8"/>
    <p:sldLayoutId id="2147484267" r:id="rId9"/>
    <p:sldLayoutId id="2147484238" r:id="rId10"/>
    <p:sldLayoutId id="2147484239" r:id="rId11"/>
    <p:sldLayoutId id="2147484240" r:id="rId12"/>
    <p:sldLayoutId id="2147484241" r:id="rId13"/>
    <p:sldLayoutId id="2147484242" r:id="rId14"/>
    <p:sldLayoutId id="2147484243" r:id="rId15"/>
    <p:sldLayoutId id="2147484244" r:id="rId16"/>
    <p:sldLayoutId id="2147484245" r:id="rId17"/>
    <p:sldLayoutId id="2147484246" r:id="rId18"/>
    <p:sldLayoutId id="2147484247" r:id="rId19"/>
    <p:sldLayoutId id="2147484248" r:id="rId20"/>
    <p:sldLayoutId id="2147484249" r:id="rId21"/>
    <p:sldLayoutId id="2147484250" r:id="rId22"/>
    <p:sldLayoutId id="2147484251" r:id="rId23"/>
    <p:sldLayoutId id="2147484252" r:id="rId24"/>
    <p:sldLayoutId id="2147484253" r:id="rId25"/>
    <p:sldLayoutId id="2147484254" r:id="rId26"/>
    <p:sldLayoutId id="2147484255" r:id="rId27"/>
    <p:sldLayoutId id="2147484256" r:id="rId28"/>
    <p:sldLayoutId id="2147484257" r:id="rId29"/>
    <p:sldLayoutId id="2147484261" r:id="rId30"/>
    <p:sldLayoutId id="2147484268" r:id="rId31"/>
    <p:sldLayoutId id="2147484269" r:id="rId32"/>
    <p:sldLayoutId id="2147484270" r:id="rId33"/>
    <p:sldLayoutId id="2147484271" r:id="rId34"/>
    <p:sldLayoutId id="2147484272" r:id="rId35"/>
    <p:sldLayoutId id="2147484258" r:id="rId36"/>
    <p:sldLayoutId id="2147484259" r:id="rId37"/>
    <p:sldLayoutId id="2147484260" r:id="rId38"/>
    <p:sldLayoutId id="2147484274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2.2.2)</a:t>
            </a:r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5% Charcoal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Indigo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hyperlink" Target="https://secure.constellation.iqvia.com/MarketingAutomationToolbox?anchor=self-service-tools" TargetMode="Externa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secure.constellation.iqvia.com/MarketingAutomationToolbox?anchor=resources" TargetMode="Externa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2d7601d89bf543c2b56545072349f957?elqTrackId=8d2cf6eea8e648ddb39140a68aec9e20&amp;elqaid=1251&amp;elqat=2" TargetMode="External"/><Relationship Id="rId2" Type="http://schemas.openxmlformats.org/officeDocument/2006/relationships/hyperlink" Target="mailto:marketing.automation@iqvia.com?subject=I%20have%20a%20question%20for%20the%20MA%20Open%20Office%20Hours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.x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37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36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hyperlink" Target="https://lookerstudio.google.com/u/0/reporting/ebe6499d-eff7-42de-b22b-035dab032483/page/p_xyh9i7dsnc" TargetMode="Externa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7" Type="http://schemas.openxmlformats.org/officeDocument/2006/relationships/image" Target="../media/image47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6.png"/><Relationship Id="rId5" Type="http://schemas.openxmlformats.org/officeDocument/2006/relationships/image" Target="../media/image45.svg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376F5B47-E5E5-444D-B64A-CD865ED93B4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7661" r="7661"/>
          <a:stretch>
            <a:fillRect/>
          </a:stretch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F75B33-7012-4681-90E6-AFA54C212D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Art and Science of Segm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2911826-BCC1-439E-A40E-C01B9B6FC64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rketing Operation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05552D1-EC58-405F-9E97-7E338409D5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rujana Pavuluri | Abhijith Joseph</a:t>
            </a:r>
          </a:p>
          <a:p>
            <a:r>
              <a:rPr lang="en-US" dirty="0"/>
              <a:t>October 9</a:t>
            </a:r>
            <a:r>
              <a:rPr lang="en-US" baseline="30000" dirty="0"/>
              <a:t>th</a:t>
            </a:r>
            <a:r>
              <a:rPr lang="en-US" dirty="0"/>
              <a:t> 2024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43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07C514C-A6A6-DE80-F7C2-1CBB5DBDB39E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riteria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pped Job level contains “Executive”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D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itle contains:</a:t>
            </a:r>
          </a:p>
          <a:p>
            <a:pPr marL="365760" lvl="2">
              <a:spcBef>
                <a:spcPts val="0"/>
              </a:spcBef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tient Solutions and Services OR</a:t>
            </a:r>
          </a:p>
          <a:p>
            <a:pPr marL="365760" lvl="2">
              <a:spcBef>
                <a:spcPts val="0"/>
              </a:spcBef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tient Access OR</a:t>
            </a:r>
          </a:p>
          <a:p>
            <a:pPr marL="365760" lvl="2">
              <a:spcBef>
                <a:spcPts val="0"/>
              </a:spcBef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tient Experience &amp; Customer Solutions</a:t>
            </a:r>
          </a:p>
          <a:p>
            <a:pPr marL="365760" lvl="2">
              <a:spcBef>
                <a:spcPts val="0"/>
              </a:spcBef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lvl="1" indent="0">
              <a:spcBef>
                <a:spcPts val="0"/>
              </a:spcBef>
              <a:buNone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AND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82880" lvl="2" indent="0">
              <a:spcBef>
                <a:spcPts val="0"/>
              </a:spcBef>
              <a:buNone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tandard and Master Exclusions </a:t>
            </a: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F21B71-0A9E-74C6-B676-6D7F4EB775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New persona segment availab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B141B1-B849-9383-8947-ADC0EBAE72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hael – Head of Patient Support Servic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DBF33-ACF1-5EB5-A64F-C3832EC891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251F2E30-5235-3308-5E17-127C775F47A0}"/>
              </a:ext>
            </a:extLst>
          </p:cNvPr>
          <p:cNvSpPr/>
          <p:nvPr/>
        </p:nvSpPr>
        <p:spPr>
          <a:xfrm>
            <a:off x="5713639" y="3000994"/>
            <a:ext cx="1217839" cy="697428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99237FA-1C9D-5BC4-46C8-9BDB3C51275B}"/>
              </a:ext>
            </a:extLst>
          </p:cNvPr>
          <p:cNvSpPr/>
          <p:nvPr/>
        </p:nvSpPr>
        <p:spPr>
          <a:xfrm>
            <a:off x="8286331" y="1917741"/>
            <a:ext cx="3233476" cy="30225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4400" b="1" dirty="0"/>
              <a:t>338</a:t>
            </a:r>
            <a:r>
              <a:rPr lang="en-US" sz="1600" dirty="0"/>
              <a:t> </a:t>
            </a:r>
          </a:p>
          <a:p>
            <a:pPr algn="ctr"/>
            <a:r>
              <a:rPr lang="en-US" sz="1600" dirty="0"/>
              <a:t>Promotable Contacts as of 10/8/2024</a:t>
            </a:r>
          </a:p>
        </p:txBody>
      </p:sp>
    </p:spTree>
    <p:extLst>
      <p:ext uri="{BB962C8B-B14F-4D97-AF65-F5344CB8AC3E}">
        <p14:creationId xmlns:p14="http://schemas.microsoft.com/office/powerpoint/2010/main" val="228543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A4561-8AB6-FFE3-84FB-4149C87752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gmentation tools and resources</a:t>
            </a:r>
          </a:p>
        </p:txBody>
      </p:sp>
      <p:pic>
        <p:nvPicPr>
          <p:cNvPr id="4" name="Picture 3" descr="A screenshot of a chat&#10;&#10;Description automatically generated">
            <a:hlinkClick r:id="rId2"/>
            <a:extLst>
              <a:ext uri="{FF2B5EF4-FFF2-40B4-BE49-F238E27FC236}">
                <a16:creationId xmlns:a16="http://schemas.microsoft.com/office/drawing/2014/main" id="{60CB90E5-61DE-A8EF-EB98-39B3DE930D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694" y="1223112"/>
            <a:ext cx="7656404" cy="534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71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AAD039B-9ABF-905B-B2AD-8E535C5D6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3" y="294468"/>
            <a:ext cx="11582019" cy="768263"/>
          </a:xfrm>
        </p:spPr>
        <p:txBody>
          <a:bodyPr/>
          <a:lstStyle/>
          <a:p>
            <a:r>
              <a:rPr lang="en-US" dirty="0"/>
              <a:t>View campaigns going out by status, region, bullseye, stakeholder, Organic Social, Website Requests, Paid Campaign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F708747-C9DE-1F1C-3BB7-092FE3DF2DA7}"/>
              </a:ext>
            </a:extLst>
          </p:cNvPr>
          <p:cNvGrpSpPr/>
          <p:nvPr/>
        </p:nvGrpSpPr>
        <p:grpSpPr>
          <a:xfrm>
            <a:off x="893242" y="1062731"/>
            <a:ext cx="5282460" cy="2222729"/>
            <a:chOff x="893242" y="1062731"/>
            <a:chExt cx="5282460" cy="222272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DE03A01-C84F-DC4E-C786-C7256916D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93242" y="1062731"/>
              <a:ext cx="5282460" cy="1217965"/>
            </a:xfrm>
            <a:prstGeom prst="rect">
              <a:avLst/>
            </a:prstGeom>
          </p:spPr>
        </p:pic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316515FA-A755-F816-6F74-B2353BC039AD}"/>
                </a:ext>
              </a:extLst>
            </p:cNvPr>
            <p:cNvCxnSpPr/>
            <p:nvPr/>
          </p:nvCxnSpPr>
          <p:spPr>
            <a:xfrm>
              <a:off x="1658679" y="2280696"/>
              <a:ext cx="1169581" cy="1004764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7">
            <a:hlinkClick r:id="rId3"/>
            <a:extLst>
              <a:ext uri="{FF2B5EF4-FFF2-40B4-BE49-F238E27FC236}">
                <a16:creationId xmlns:a16="http://schemas.microsoft.com/office/drawing/2014/main" id="{2DEFC1A1-BCDE-028A-04B0-638C061354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8383" y="1720075"/>
            <a:ext cx="6794204" cy="483682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8246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0C591F6-0C2D-42D1-AA2A-C0271F2AA4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28424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4972565-B463-4A0D-AE01-73E66F414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  <a:p>
            <a:r>
              <a:rPr lang="en-US" dirty="0"/>
              <a:t>The Importance of Segmentation</a:t>
            </a:r>
          </a:p>
          <a:p>
            <a:r>
              <a:rPr lang="en-US" dirty="0"/>
              <a:t>Elements in Segmentation</a:t>
            </a:r>
          </a:p>
          <a:p>
            <a:r>
              <a:rPr lang="en-US" dirty="0"/>
              <a:t>Contact Journey</a:t>
            </a:r>
          </a:p>
          <a:p>
            <a:r>
              <a:rPr lang="en-US" dirty="0"/>
              <a:t>Types of Segments</a:t>
            </a:r>
          </a:p>
          <a:p>
            <a:r>
              <a:rPr lang="en-US" dirty="0"/>
              <a:t>Recent Segment Exclusions </a:t>
            </a:r>
          </a:p>
          <a:p>
            <a:r>
              <a:rPr lang="en-US" dirty="0"/>
              <a:t>Segmentation Tools and Resources</a:t>
            </a:r>
          </a:p>
          <a:p>
            <a:r>
              <a:rPr lang="en-US" dirty="0"/>
              <a:t>Open Q&amp;A/Discuss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2B8B85-2E5A-4FD5-B022-868DF0E37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659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C83875-BE3D-467D-B2CE-37C26280C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5501201" cy="4994125"/>
          </a:xfrm>
        </p:spPr>
        <p:txBody>
          <a:bodyPr/>
          <a:lstStyle/>
          <a:p>
            <a:r>
              <a:rPr lang="en-US" dirty="0"/>
              <a:t>Get your questions answered by the marketing operations team.  Open Office Hours are held monthly with the following agenda:</a:t>
            </a:r>
          </a:p>
          <a:p>
            <a:pPr lvl="1"/>
            <a:r>
              <a:rPr lang="en-US" dirty="0"/>
              <a:t>Learn about a tip or best practice  </a:t>
            </a:r>
          </a:p>
          <a:p>
            <a:pPr lvl="1"/>
            <a:r>
              <a:rPr lang="en-US" dirty="0"/>
              <a:t>Ask a question – Pre-submit your questions </a:t>
            </a:r>
            <a:r>
              <a:rPr lang="en-US" u="sng" dirty="0">
                <a:hlinkClick r:id="rId2"/>
              </a:rPr>
              <a:t>here</a:t>
            </a:r>
            <a:r>
              <a:rPr lang="en-US" u="sng" dirty="0"/>
              <a:t> </a:t>
            </a:r>
            <a:r>
              <a:rPr lang="en-US" dirty="0"/>
              <a:t>or ask during the office hours</a:t>
            </a:r>
            <a:endParaRPr lang="en-US" dirty="0">
              <a:cs typeface="Arial"/>
            </a:endParaRPr>
          </a:p>
          <a:p>
            <a:pPr lvl="1"/>
            <a:r>
              <a:rPr lang="en-US" dirty="0"/>
              <a:t>Learn how to leverage IQVIA’s marketing systems and processes most effectively</a:t>
            </a:r>
            <a:endParaRPr lang="en-US" dirty="0">
              <a:cs typeface="Arial"/>
            </a:endParaRPr>
          </a:p>
          <a:p>
            <a:pPr lvl="1"/>
            <a:endParaRPr lang="en-US" dirty="0"/>
          </a:p>
          <a:p>
            <a:r>
              <a:rPr lang="en-US" b="1" u="sng" dirty="0"/>
              <a:t>Action:</a:t>
            </a:r>
            <a:r>
              <a:rPr lang="en-US" b="1" dirty="0"/>
              <a:t> </a:t>
            </a:r>
            <a:r>
              <a:rPr lang="en-US" dirty="0"/>
              <a:t>Sign up </a:t>
            </a:r>
            <a:r>
              <a:rPr lang="en-US" dirty="0">
                <a:hlinkClick r:id="rId3"/>
              </a:rPr>
              <a:t>here</a:t>
            </a:r>
            <a:r>
              <a:rPr lang="en-US" dirty="0"/>
              <a:t>, if you need to be added to the outlook invite</a:t>
            </a:r>
            <a:endParaRPr lang="en-US" dirty="0">
              <a:cs typeface="Arial"/>
            </a:endParaRPr>
          </a:p>
          <a:p>
            <a:endParaRPr lang="en-GB" dirty="0"/>
          </a:p>
          <a:p>
            <a:r>
              <a:rPr lang="en-US" b="1" u="sng" dirty="0">
                <a:cs typeface="Arial"/>
              </a:rPr>
              <a:t>Reminder: </a:t>
            </a:r>
            <a:r>
              <a:rPr lang="en-US" dirty="0">
                <a:cs typeface="Arial"/>
              </a:rPr>
              <a:t>Save your questions for the end or enter in the chat. We will address as many as we can!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366DA9-F784-418C-B439-6F6DAF88D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ing Operations Open Office Hours 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F36190-781E-4144-9865-7D0153FAF5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9890" y="1733835"/>
            <a:ext cx="4534533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43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6164594-7E85-4B72-A9C3-6CBBF7E59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mportance of segmentatio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26FF306-265C-4F20-84D9-567769A887A1}"/>
              </a:ext>
            </a:extLst>
          </p:cNvPr>
          <p:cNvSpPr/>
          <p:nvPr/>
        </p:nvSpPr>
        <p:spPr>
          <a:xfrm rot="19346620">
            <a:off x="1624292" y="1605927"/>
            <a:ext cx="2171890" cy="372629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4281BED-B1B6-476C-8C15-B427629E2F82}"/>
              </a:ext>
            </a:extLst>
          </p:cNvPr>
          <p:cNvSpPr/>
          <p:nvPr/>
        </p:nvSpPr>
        <p:spPr>
          <a:xfrm rot="16200000">
            <a:off x="1371354" y="2322000"/>
            <a:ext cx="2171890" cy="356814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C87B239C-57FF-4D11-B2F9-93250BBA9C0E}"/>
              </a:ext>
            </a:extLst>
          </p:cNvPr>
          <p:cNvSpPr/>
          <p:nvPr/>
        </p:nvSpPr>
        <p:spPr>
          <a:xfrm rot="13272301">
            <a:off x="1581430" y="3007482"/>
            <a:ext cx="2171890" cy="342699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7" name="Rounded Rectangle 69">
            <a:extLst>
              <a:ext uri="{FF2B5EF4-FFF2-40B4-BE49-F238E27FC236}">
                <a16:creationId xmlns:a16="http://schemas.microsoft.com/office/drawing/2014/main" id="{D528A630-BCE5-4F17-873F-09DD9D4CCD39}"/>
              </a:ext>
            </a:extLst>
          </p:cNvPr>
          <p:cNvSpPr>
            <a:spLocks/>
          </p:cNvSpPr>
          <p:nvPr/>
        </p:nvSpPr>
        <p:spPr>
          <a:xfrm>
            <a:off x="5998627" y="1891873"/>
            <a:ext cx="5724627" cy="129120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ct val="0"/>
              </a:spcAft>
              <a:buNone/>
              <a:defRPr/>
            </a:pP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e your way to better email performance</a:t>
            </a:r>
          </a:p>
          <a:p>
            <a:pPr marL="182880" lvl="0" indent="-182880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ide contacts into smaller, more specific groups based on certain criteria vs. mass sends</a:t>
            </a:r>
          </a:p>
          <a:p>
            <a:pPr marL="182880" indent="-182880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ynamic segments vs stagnant lists</a:t>
            </a:r>
          </a:p>
          <a:p>
            <a:pPr marL="182880" indent="-182880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mented emails work better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AEA72A6-67BB-4B8A-9CAE-A4D6F9E346E0}"/>
              </a:ext>
            </a:extLst>
          </p:cNvPr>
          <p:cNvCxnSpPr>
            <a:cxnSpLocks/>
          </p:cNvCxnSpPr>
          <p:nvPr/>
        </p:nvCxnSpPr>
        <p:spPr>
          <a:xfrm flipV="1">
            <a:off x="4155641" y="2528889"/>
            <a:ext cx="1235436" cy="654189"/>
          </a:xfrm>
          <a:prstGeom prst="line">
            <a:avLst/>
          </a:prstGeom>
          <a:ln w="31750" cap="rnd">
            <a:solidFill>
              <a:schemeClr val="accent1"/>
            </a:solidFill>
            <a:prstDash val="sysDot"/>
            <a:round/>
            <a:headEnd type="oval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011F0A72-D08C-47FA-99AA-3BF499D88D02}"/>
              </a:ext>
            </a:extLst>
          </p:cNvPr>
          <p:cNvSpPr/>
          <p:nvPr/>
        </p:nvSpPr>
        <p:spPr>
          <a:xfrm>
            <a:off x="2103948" y="3002751"/>
            <a:ext cx="2206639" cy="220663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Customer Centric</a:t>
            </a:r>
          </a:p>
        </p:txBody>
      </p:sp>
      <p:sp>
        <p:nvSpPr>
          <p:cNvPr id="34" name="Arc 33">
            <a:extLst>
              <a:ext uri="{FF2B5EF4-FFF2-40B4-BE49-F238E27FC236}">
                <a16:creationId xmlns:a16="http://schemas.microsoft.com/office/drawing/2014/main" id="{D19F7880-971E-4C4C-AC60-2DDB8304C703}"/>
              </a:ext>
            </a:extLst>
          </p:cNvPr>
          <p:cNvSpPr/>
          <p:nvPr/>
        </p:nvSpPr>
        <p:spPr>
          <a:xfrm>
            <a:off x="5391077" y="1892947"/>
            <a:ext cx="1291206" cy="1291206"/>
          </a:xfrm>
          <a:prstGeom prst="arc">
            <a:avLst>
              <a:gd name="adj1" fmla="val 5426523"/>
              <a:gd name="adj2" fmla="val 16232457"/>
            </a:avLst>
          </a:prstGeom>
          <a:noFill/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42" name="Rounded Rectangle 69">
            <a:extLst>
              <a:ext uri="{FF2B5EF4-FFF2-40B4-BE49-F238E27FC236}">
                <a16:creationId xmlns:a16="http://schemas.microsoft.com/office/drawing/2014/main" id="{58FAEF7A-C9BA-4551-A777-91E95FCE3141}"/>
              </a:ext>
            </a:extLst>
          </p:cNvPr>
          <p:cNvSpPr>
            <a:spLocks/>
          </p:cNvSpPr>
          <p:nvPr/>
        </p:nvSpPr>
        <p:spPr>
          <a:xfrm>
            <a:off x="5998627" y="3440719"/>
            <a:ext cx="5724627" cy="129120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lvl="0" indent="0" fontAlgn="base">
              <a:spcAft>
                <a:spcPct val="0"/>
              </a:spcAft>
              <a:buNone/>
              <a:defRPr/>
            </a:pP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 relevance</a:t>
            </a:r>
          </a:p>
          <a:p>
            <a:pPr marL="182880" lvl="0" indent="-182880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messages based on customer needs and preferences</a:t>
            </a:r>
          </a:p>
          <a:p>
            <a:pPr marL="182880" indent="-182880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content that is more relevant and personalized to each contact making your email more likely to be open, clicked through and read</a:t>
            </a:r>
            <a:endParaRPr lang="en-US" sz="1200" dirty="0"/>
          </a:p>
          <a:p>
            <a:pPr marL="182880" lvl="0" indent="-182880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Arc 42">
            <a:extLst>
              <a:ext uri="{FF2B5EF4-FFF2-40B4-BE49-F238E27FC236}">
                <a16:creationId xmlns:a16="http://schemas.microsoft.com/office/drawing/2014/main" id="{9C8AF396-7806-4F85-B4FE-DA442B56A9D1}"/>
              </a:ext>
            </a:extLst>
          </p:cNvPr>
          <p:cNvSpPr/>
          <p:nvPr/>
        </p:nvSpPr>
        <p:spPr>
          <a:xfrm>
            <a:off x="5391077" y="3441793"/>
            <a:ext cx="1291206" cy="1291206"/>
          </a:xfrm>
          <a:prstGeom prst="arc">
            <a:avLst>
              <a:gd name="adj1" fmla="val 5426523"/>
              <a:gd name="adj2" fmla="val 16232457"/>
            </a:avLst>
          </a:prstGeom>
          <a:noFill/>
          <a:ln w="762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44" name="Rounded Rectangle 69">
            <a:extLst>
              <a:ext uri="{FF2B5EF4-FFF2-40B4-BE49-F238E27FC236}">
                <a16:creationId xmlns:a16="http://schemas.microsoft.com/office/drawing/2014/main" id="{6BAFCEEC-FA2F-4243-9DA9-581DBCD0A0C8}"/>
              </a:ext>
            </a:extLst>
          </p:cNvPr>
          <p:cNvSpPr>
            <a:spLocks/>
          </p:cNvSpPr>
          <p:nvPr/>
        </p:nvSpPr>
        <p:spPr>
          <a:xfrm>
            <a:off x="5998627" y="4982735"/>
            <a:ext cx="5724627" cy="129120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fontAlgn="base"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 customers through the funnel</a:t>
            </a:r>
          </a:p>
          <a:p>
            <a:pPr marL="182880" lvl="0" indent="-182880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come and share</a:t>
            </a:r>
          </a:p>
          <a:p>
            <a:pPr marL="182880" lvl="0" indent="-182880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d awareness to new customers, boosts brand image</a:t>
            </a:r>
          </a:p>
          <a:p>
            <a:pPr marL="182880" lvl="0" indent="-182880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ntionality and sharing right message at the right time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A82D184-00FF-42F3-8BAE-63C869F01548}"/>
              </a:ext>
            </a:extLst>
          </p:cNvPr>
          <p:cNvCxnSpPr>
            <a:cxnSpLocks/>
          </p:cNvCxnSpPr>
          <p:nvPr/>
        </p:nvCxnSpPr>
        <p:spPr>
          <a:xfrm>
            <a:off x="4155641" y="5007164"/>
            <a:ext cx="1235436" cy="612588"/>
          </a:xfrm>
          <a:prstGeom prst="line">
            <a:avLst/>
          </a:prstGeom>
          <a:ln w="31750" cap="rnd">
            <a:solidFill>
              <a:schemeClr val="accent5"/>
            </a:solidFill>
            <a:prstDash val="sysDot"/>
            <a:round/>
            <a:headEnd type="oval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Arc 45">
            <a:extLst>
              <a:ext uri="{FF2B5EF4-FFF2-40B4-BE49-F238E27FC236}">
                <a16:creationId xmlns:a16="http://schemas.microsoft.com/office/drawing/2014/main" id="{65F976F9-F433-4921-B6B3-49A46C368D3A}"/>
              </a:ext>
            </a:extLst>
          </p:cNvPr>
          <p:cNvSpPr/>
          <p:nvPr/>
        </p:nvSpPr>
        <p:spPr>
          <a:xfrm>
            <a:off x="5391077" y="4983809"/>
            <a:ext cx="1291206" cy="1291206"/>
          </a:xfrm>
          <a:prstGeom prst="arc">
            <a:avLst>
              <a:gd name="adj1" fmla="val 5426523"/>
              <a:gd name="adj2" fmla="val 16232457"/>
            </a:avLst>
          </a:prstGeom>
          <a:noFill/>
          <a:ln w="76200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4EB6F2B-4973-4CA5-BB20-939FA04F638B}"/>
              </a:ext>
            </a:extLst>
          </p:cNvPr>
          <p:cNvCxnSpPr>
            <a:cxnSpLocks/>
          </p:cNvCxnSpPr>
          <p:nvPr/>
        </p:nvCxnSpPr>
        <p:spPr>
          <a:xfrm>
            <a:off x="4522354" y="4106070"/>
            <a:ext cx="848963" cy="1"/>
          </a:xfrm>
          <a:prstGeom prst="line">
            <a:avLst/>
          </a:prstGeom>
          <a:ln w="31750" cap="rnd">
            <a:solidFill>
              <a:schemeClr val="accent2"/>
            </a:solidFill>
            <a:prstDash val="sysDot"/>
            <a:round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F7CE51A7-393D-4F21-0E9C-C9AE19AD50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36697" y="2000834"/>
            <a:ext cx="848973" cy="848973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030D007-B62D-20D9-32F5-0E4BDD962A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4128" y="3689398"/>
            <a:ext cx="640080" cy="64008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EAEA2CC0-9BC0-497B-C355-CDDF1F0CFB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67786" y="5108139"/>
            <a:ext cx="699192" cy="69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98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AACF308-D50E-4A8D-AC0C-9E38459946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AACF308-D50E-4A8D-AC0C-9E3845994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36">
            <a:extLst>
              <a:ext uri="{FF2B5EF4-FFF2-40B4-BE49-F238E27FC236}">
                <a16:creationId xmlns:a16="http://schemas.microsoft.com/office/drawing/2014/main" id="{04E0CAD8-E311-450F-9D10-7315EA881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customer data to create more targeted and personalized messaging</a:t>
            </a: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B66590DD-993E-4FE7-A87E-285088D6E3A1}"/>
              </a:ext>
            </a:extLst>
          </p:cNvPr>
          <p:cNvSpPr>
            <a:spLocks/>
          </p:cNvSpPr>
          <p:nvPr/>
        </p:nvSpPr>
        <p:spPr>
          <a:xfrm>
            <a:off x="396770" y="1667192"/>
            <a:ext cx="1721495" cy="377314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AACF73-AD1A-454B-A35F-9CAB4EF3A7C4}"/>
              </a:ext>
            </a:extLst>
          </p:cNvPr>
          <p:cNvSpPr txBox="1"/>
          <p:nvPr/>
        </p:nvSpPr>
        <p:spPr>
          <a:xfrm>
            <a:off x="396772" y="2502788"/>
            <a:ext cx="1721495" cy="360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spcBef>
                <a:spcPts val="600"/>
              </a:spcBef>
              <a:defRPr/>
            </a:pPr>
            <a:endParaRPr lang="en-US" sz="1600" b="1" dirty="0">
              <a:solidFill>
                <a:schemeClr val="accent2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CFF773C-F7AA-494F-85CD-B6800D45E083}"/>
              </a:ext>
            </a:extLst>
          </p:cNvPr>
          <p:cNvSpPr/>
          <p:nvPr/>
        </p:nvSpPr>
        <p:spPr>
          <a:xfrm>
            <a:off x="1005606" y="1752184"/>
            <a:ext cx="503823" cy="50382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000" b="1" dirty="0"/>
              <a:t>1</a:t>
            </a: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3A2D3D7E-DCC4-4725-98AA-C15D7B5FA12A}"/>
              </a:ext>
            </a:extLst>
          </p:cNvPr>
          <p:cNvSpPr/>
          <p:nvPr/>
        </p:nvSpPr>
        <p:spPr>
          <a:xfrm>
            <a:off x="397429" y="5440342"/>
            <a:ext cx="1720177" cy="847696"/>
          </a:xfrm>
          <a:custGeom>
            <a:avLst/>
            <a:gdLst>
              <a:gd name="connsiteX0" fmla="*/ 0 w 1644660"/>
              <a:gd name="connsiteY0" fmla="*/ 0 h 810480"/>
              <a:gd name="connsiteX1" fmla="*/ 1644660 w 1644660"/>
              <a:gd name="connsiteY1" fmla="*/ 0 h 810480"/>
              <a:gd name="connsiteX2" fmla="*/ 1641041 w 1644660"/>
              <a:gd name="connsiteY2" fmla="*/ 71663 h 810480"/>
              <a:gd name="connsiteX3" fmla="*/ 822330 w 1644660"/>
              <a:gd name="connsiteY3" fmla="*/ 810480 h 810480"/>
              <a:gd name="connsiteX4" fmla="*/ 3619 w 1644660"/>
              <a:gd name="connsiteY4" fmla="*/ 71663 h 81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4660" h="810480">
                <a:moveTo>
                  <a:pt x="0" y="0"/>
                </a:moveTo>
                <a:lnTo>
                  <a:pt x="1644660" y="0"/>
                </a:lnTo>
                <a:lnTo>
                  <a:pt x="1641041" y="71663"/>
                </a:lnTo>
                <a:cubicBezTo>
                  <a:pt x="1598897" y="486645"/>
                  <a:pt x="1248431" y="810480"/>
                  <a:pt x="822330" y="810480"/>
                </a:cubicBezTo>
                <a:cubicBezTo>
                  <a:pt x="396229" y="810480"/>
                  <a:pt x="45763" y="486645"/>
                  <a:pt x="3619" y="7166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337E43E9-F3F7-4060-BCD5-70FE7A27BDD0}"/>
              </a:ext>
            </a:extLst>
          </p:cNvPr>
          <p:cNvSpPr/>
          <p:nvPr/>
        </p:nvSpPr>
        <p:spPr>
          <a:xfrm>
            <a:off x="2317768" y="1667192"/>
            <a:ext cx="1721495" cy="377314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BFFB60-D1F9-4912-A232-C4F07EB45CCF}"/>
              </a:ext>
            </a:extLst>
          </p:cNvPr>
          <p:cNvSpPr txBox="1"/>
          <p:nvPr/>
        </p:nvSpPr>
        <p:spPr>
          <a:xfrm>
            <a:off x="2317770" y="2502788"/>
            <a:ext cx="1721495" cy="360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spcBef>
                <a:spcPts val="600"/>
              </a:spcBef>
              <a:defRPr/>
            </a:pPr>
            <a:endParaRPr lang="en-US" sz="1600" b="1" dirty="0">
              <a:solidFill>
                <a:schemeClr val="accent3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4354B85-DFD1-4609-BBD1-39F787813CEC}"/>
              </a:ext>
            </a:extLst>
          </p:cNvPr>
          <p:cNvSpPr/>
          <p:nvPr/>
        </p:nvSpPr>
        <p:spPr>
          <a:xfrm>
            <a:off x="2926604" y="1752184"/>
            <a:ext cx="503823" cy="503823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000" b="1" dirty="0"/>
              <a:t>2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AEA57765-478D-428C-9BD2-36CB2EA941A6}"/>
              </a:ext>
            </a:extLst>
          </p:cNvPr>
          <p:cNvSpPr/>
          <p:nvPr/>
        </p:nvSpPr>
        <p:spPr>
          <a:xfrm>
            <a:off x="2316630" y="5440342"/>
            <a:ext cx="1720177" cy="847696"/>
          </a:xfrm>
          <a:custGeom>
            <a:avLst/>
            <a:gdLst>
              <a:gd name="connsiteX0" fmla="*/ 0 w 1644660"/>
              <a:gd name="connsiteY0" fmla="*/ 0 h 810480"/>
              <a:gd name="connsiteX1" fmla="*/ 1644660 w 1644660"/>
              <a:gd name="connsiteY1" fmla="*/ 0 h 810480"/>
              <a:gd name="connsiteX2" fmla="*/ 1641041 w 1644660"/>
              <a:gd name="connsiteY2" fmla="*/ 71663 h 810480"/>
              <a:gd name="connsiteX3" fmla="*/ 822330 w 1644660"/>
              <a:gd name="connsiteY3" fmla="*/ 810480 h 810480"/>
              <a:gd name="connsiteX4" fmla="*/ 3619 w 1644660"/>
              <a:gd name="connsiteY4" fmla="*/ 71663 h 81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4660" h="810480">
                <a:moveTo>
                  <a:pt x="0" y="0"/>
                </a:moveTo>
                <a:lnTo>
                  <a:pt x="1644660" y="0"/>
                </a:lnTo>
                <a:lnTo>
                  <a:pt x="1641041" y="71663"/>
                </a:lnTo>
                <a:cubicBezTo>
                  <a:pt x="1598897" y="486645"/>
                  <a:pt x="1248431" y="810480"/>
                  <a:pt x="822330" y="810480"/>
                </a:cubicBezTo>
                <a:cubicBezTo>
                  <a:pt x="396229" y="810480"/>
                  <a:pt x="45763" y="486645"/>
                  <a:pt x="3619" y="716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ACC752F9-83E5-460D-93C1-1E66382272FD}"/>
              </a:ext>
            </a:extLst>
          </p:cNvPr>
          <p:cNvSpPr/>
          <p:nvPr/>
        </p:nvSpPr>
        <p:spPr>
          <a:xfrm>
            <a:off x="4238766" y="1667192"/>
            <a:ext cx="1721495" cy="377314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17231E8-BE6A-4841-A63F-4A8C448BAF8B}"/>
              </a:ext>
            </a:extLst>
          </p:cNvPr>
          <p:cNvSpPr txBox="1"/>
          <p:nvPr/>
        </p:nvSpPr>
        <p:spPr>
          <a:xfrm>
            <a:off x="4238768" y="2502788"/>
            <a:ext cx="1721495" cy="360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spcBef>
                <a:spcPts val="600"/>
              </a:spcBef>
              <a:defRPr/>
            </a:pPr>
            <a:endParaRPr lang="en-US" sz="1600" b="1" dirty="0">
              <a:solidFill>
                <a:schemeClr val="accent5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A435F88-ED42-4786-A522-642D0F1CAECB}"/>
              </a:ext>
            </a:extLst>
          </p:cNvPr>
          <p:cNvSpPr/>
          <p:nvPr/>
        </p:nvSpPr>
        <p:spPr>
          <a:xfrm>
            <a:off x="4847602" y="1752184"/>
            <a:ext cx="503823" cy="503823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000" b="1" dirty="0"/>
              <a:t>3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AFF9E620-EBA9-46C8-8694-0B65191D7227}"/>
              </a:ext>
            </a:extLst>
          </p:cNvPr>
          <p:cNvSpPr/>
          <p:nvPr/>
        </p:nvSpPr>
        <p:spPr>
          <a:xfrm>
            <a:off x="4239425" y="5440342"/>
            <a:ext cx="1720177" cy="847696"/>
          </a:xfrm>
          <a:custGeom>
            <a:avLst/>
            <a:gdLst>
              <a:gd name="connsiteX0" fmla="*/ 0 w 1644660"/>
              <a:gd name="connsiteY0" fmla="*/ 0 h 810480"/>
              <a:gd name="connsiteX1" fmla="*/ 1644660 w 1644660"/>
              <a:gd name="connsiteY1" fmla="*/ 0 h 810480"/>
              <a:gd name="connsiteX2" fmla="*/ 1641041 w 1644660"/>
              <a:gd name="connsiteY2" fmla="*/ 71663 h 810480"/>
              <a:gd name="connsiteX3" fmla="*/ 822330 w 1644660"/>
              <a:gd name="connsiteY3" fmla="*/ 810480 h 810480"/>
              <a:gd name="connsiteX4" fmla="*/ 3619 w 1644660"/>
              <a:gd name="connsiteY4" fmla="*/ 71663 h 81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4660" h="810480">
                <a:moveTo>
                  <a:pt x="0" y="0"/>
                </a:moveTo>
                <a:lnTo>
                  <a:pt x="1644660" y="0"/>
                </a:lnTo>
                <a:lnTo>
                  <a:pt x="1641041" y="71663"/>
                </a:lnTo>
                <a:cubicBezTo>
                  <a:pt x="1598897" y="486645"/>
                  <a:pt x="1248431" y="810480"/>
                  <a:pt x="822330" y="810480"/>
                </a:cubicBezTo>
                <a:cubicBezTo>
                  <a:pt x="396229" y="810480"/>
                  <a:pt x="45763" y="486645"/>
                  <a:pt x="3619" y="7166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E3215445-3FE3-46C6-BFAD-F02F6061D2F8}"/>
              </a:ext>
            </a:extLst>
          </p:cNvPr>
          <p:cNvSpPr/>
          <p:nvPr/>
        </p:nvSpPr>
        <p:spPr>
          <a:xfrm>
            <a:off x="8080762" y="1667192"/>
            <a:ext cx="1721495" cy="377314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5CB717D-F3F9-450E-A716-3C63C459E2F7}"/>
              </a:ext>
            </a:extLst>
          </p:cNvPr>
          <p:cNvSpPr txBox="1"/>
          <p:nvPr/>
        </p:nvSpPr>
        <p:spPr>
          <a:xfrm>
            <a:off x="8080762" y="2502788"/>
            <a:ext cx="1721495" cy="360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spcBef>
                <a:spcPts val="600"/>
              </a:spcBef>
              <a:defRPr/>
            </a:pP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F3A93B9-8D5A-4D01-B6FF-52E4C5EBB7D1}"/>
              </a:ext>
            </a:extLst>
          </p:cNvPr>
          <p:cNvSpPr/>
          <p:nvPr/>
        </p:nvSpPr>
        <p:spPr>
          <a:xfrm>
            <a:off x="8689598" y="1752184"/>
            <a:ext cx="503823" cy="503823"/>
          </a:xfrm>
          <a:prstGeom prst="ellipse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000" b="1" dirty="0"/>
              <a:t>5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841D0043-CF1B-4ED2-9A61-472F9E15DB85}"/>
              </a:ext>
            </a:extLst>
          </p:cNvPr>
          <p:cNvSpPr/>
          <p:nvPr/>
        </p:nvSpPr>
        <p:spPr>
          <a:xfrm>
            <a:off x="8081421" y="5440342"/>
            <a:ext cx="1720177" cy="847696"/>
          </a:xfrm>
          <a:custGeom>
            <a:avLst/>
            <a:gdLst>
              <a:gd name="connsiteX0" fmla="*/ 0 w 1644660"/>
              <a:gd name="connsiteY0" fmla="*/ 0 h 810480"/>
              <a:gd name="connsiteX1" fmla="*/ 1644660 w 1644660"/>
              <a:gd name="connsiteY1" fmla="*/ 0 h 810480"/>
              <a:gd name="connsiteX2" fmla="*/ 1641041 w 1644660"/>
              <a:gd name="connsiteY2" fmla="*/ 71663 h 810480"/>
              <a:gd name="connsiteX3" fmla="*/ 822330 w 1644660"/>
              <a:gd name="connsiteY3" fmla="*/ 810480 h 810480"/>
              <a:gd name="connsiteX4" fmla="*/ 3619 w 1644660"/>
              <a:gd name="connsiteY4" fmla="*/ 71663 h 81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4660" h="810480">
                <a:moveTo>
                  <a:pt x="0" y="0"/>
                </a:moveTo>
                <a:lnTo>
                  <a:pt x="1644660" y="0"/>
                </a:lnTo>
                <a:lnTo>
                  <a:pt x="1641041" y="71663"/>
                </a:lnTo>
                <a:cubicBezTo>
                  <a:pt x="1598897" y="486645"/>
                  <a:pt x="1248431" y="810480"/>
                  <a:pt x="822330" y="810480"/>
                </a:cubicBezTo>
                <a:cubicBezTo>
                  <a:pt x="396229" y="810480"/>
                  <a:pt x="45763" y="486645"/>
                  <a:pt x="3619" y="7166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11095F72-318B-4CDA-ABC1-71D924681F20}"/>
              </a:ext>
            </a:extLst>
          </p:cNvPr>
          <p:cNvSpPr/>
          <p:nvPr/>
        </p:nvSpPr>
        <p:spPr>
          <a:xfrm>
            <a:off x="6159764" y="1667192"/>
            <a:ext cx="1721495" cy="377314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128A26D-E5F0-4939-ADAB-307A939FEDE4}"/>
              </a:ext>
            </a:extLst>
          </p:cNvPr>
          <p:cNvSpPr txBox="1"/>
          <p:nvPr/>
        </p:nvSpPr>
        <p:spPr>
          <a:xfrm>
            <a:off x="6159766" y="2502788"/>
            <a:ext cx="1721495" cy="360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spcBef>
                <a:spcPts val="600"/>
              </a:spcBef>
              <a:defRPr/>
            </a:pPr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B8A5CF-C965-45B5-BE79-D8CE542A041B}"/>
              </a:ext>
            </a:extLst>
          </p:cNvPr>
          <p:cNvSpPr/>
          <p:nvPr/>
        </p:nvSpPr>
        <p:spPr>
          <a:xfrm>
            <a:off x="6768600" y="1752184"/>
            <a:ext cx="503823" cy="503823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000" b="1" dirty="0"/>
              <a:t>4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9BD547A4-223D-4378-AF5C-80605F7A62D5}"/>
              </a:ext>
            </a:extLst>
          </p:cNvPr>
          <p:cNvSpPr/>
          <p:nvPr/>
        </p:nvSpPr>
        <p:spPr>
          <a:xfrm>
            <a:off x="6160423" y="5440342"/>
            <a:ext cx="1720177" cy="847696"/>
          </a:xfrm>
          <a:custGeom>
            <a:avLst/>
            <a:gdLst>
              <a:gd name="connsiteX0" fmla="*/ 0 w 1644660"/>
              <a:gd name="connsiteY0" fmla="*/ 0 h 810480"/>
              <a:gd name="connsiteX1" fmla="*/ 1644660 w 1644660"/>
              <a:gd name="connsiteY1" fmla="*/ 0 h 810480"/>
              <a:gd name="connsiteX2" fmla="*/ 1641041 w 1644660"/>
              <a:gd name="connsiteY2" fmla="*/ 71663 h 810480"/>
              <a:gd name="connsiteX3" fmla="*/ 822330 w 1644660"/>
              <a:gd name="connsiteY3" fmla="*/ 810480 h 810480"/>
              <a:gd name="connsiteX4" fmla="*/ 3619 w 1644660"/>
              <a:gd name="connsiteY4" fmla="*/ 71663 h 81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4660" h="810480">
                <a:moveTo>
                  <a:pt x="0" y="0"/>
                </a:moveTo>
                <a:lnTo>
                  <a:pt x="1644660" y="0"/>
                </a:lnTo>
                <a:lnTo>
                  <a:pt x="1641041" y="71663"/>
                </a:lnTo>
                <a:cubicBezTo>
                  <a:pt x="1598897" y="486645"/>
                  <a:pt x="1248431" y="810480"/>
                  <a:pt x="822330" y="810480"/>
                </a:cubicBezTo>
                <a:cubicBezTo>
                  <a:pt x="396229" y="810480"/>
                  <a:pt x="45763" y="486645"/>
                  <a:pt x="3619" y="7166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45" name="Rectangle: Top Corners Rounded 44">
            <a:extLst>
              <a:ext uri="{FF2B5EF4-FFF2-40B4-BE49-F238E27FC236}">
                <a16:creationId xmlns:a16="http://schemas.microsoft.com/office/drawing/2014/main" id="{B97A9AB6-E453-4737-BAB3-A3387E2B3167}"/>
              </a:ext>
            </a:extLst>
          </p:cNvPr>
          <p:cNvSpPr/>
          <p:nvPr/>
        </p:nvSpPr>
        <p:spPr>
          <a:xfrm>
            <a:off x="10001759" y="1667192"/>
            <a:ext cx="1721495" cy="377314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7DF98BD-BD0C-4576-A752-495397A773D4}"/>
              </a:ext>
            </a:extLst>
          </p:cNvPr>
          <p:cNvSpPr txBox="1"/>
          <p:nvPr/>
        </p:nvSpPr>
        <p:spPr>
          <a:xfrm>
            <a:off x="10001759" y="2502788"/>
            <a:ext cx="1721495" cy="360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spcBef>
                <a:spcPts val="600"/>
              </a:spcBef>
              <a:defRPr/>
            </a:pPr>
            <a:endParaRPr lang="en-US" sz="1600" b="1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39E45E1-1046-4F09-870B-65F9D3C7E166}"/>
              </a:ext>
            </a:extLst>
          </p:cNvPr>
          <p:cNvSpPr/>
          <p:nvPr/>
        </p:nvSpPr>
        <p:spPr>
          <a:xfrm>
            <a:off x="10610595" y="1752184"/>
            <a:ext cx="503823" cy="503823"/>
          </a:xfrm>
          <a:prstGeom prst="ellipse">
            <a:avLst/>
          </a:prstGeom>
          <a:solidFill>
            <a:srgbClr val="606B7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2000" b="1" dirty="0"/>
              <a:t>6</a:t>
            </a: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8B3C95D8-FC61-4FD5-AEEE-8996E4D3ADBF}"/>
              </a:ext>
            </a:extLst>
          </p:cNvPr>
          <p:cNvSpPr/>
          <p:nvPr/>
        </p:nvSpPr>
        <p:spPr>
          <a:xfrm>
            <a:off x="10002418" y="5440342"/>
            <a:ext cx="1720177" cy="847696"/>
          </a:xfrm>
          <a:custGeom>
            <a:avLst/>
            <a:gdLst>
              <a:gd name="connsiteX0" fmla="*/ 0 w 1644660"/>
              <a:gd name="connsiteY0" fmla="*/ 0 h 810480"/>
              <a:gd name="connsiteX1" fmla="*/ 1644660 w 1644660"/>
              <a:gd name="connsiteY1" fmla="*/ 0 h 810480"/>
              <a:gd name="connsiteX2" fmla="*/ 1641041 w 1644660"/>
              <a:gd name="connsiteY2" fmla="*/ 71663 h 810480"/>
              <a:gd name="connsiteX3" fmla="*/ 822330 w 1644660"/>
              <a:gd name="connsiteY3" fmla="*/ 810480 h 810480"/>
              <a:gd name="connsiteX4" fmla="*/ 3619 w 1644660"/>
              <a:gd name="connsiteY4" fmla="*/ 71663 h 81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4660" h="810480">
                <a:moveTo>
                  <a:pt x="0" y="0"/>
                </a:moveTo>
                <a:lnTo>
                  <a:pt x="1644660" y="0"/>
                </a:lnTo>
                <a:lnTo>
                  <a:pt x="1641041" y="71663"/>
                </a:lnTo>
                <a:cubicBezTo>
                  <a:pt x="1598897" y="486645"/>
                  <a:pt x="1248431" y="810480"/>
                  <a:pt x="822330" y="810480"/>
                </a:cubicBezTo>
                <a:cubicBezTo>
                  <a:pt x="396229" y="810480"/>
                  <a:pt x="45763" y="486645"/>
                  <a:pt x="3619" y="71663"/>
                </a:cubicBezTo>
                <a:close/>
              </a:path>
            </a:pathLst>
          </a:custGeom>
          <a:solidFill>
            <a:srgbClr val="606B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53" name="Rounded Rectangle 69">
            <a:extLst>
              <a:ext uri="{FF2B5EF4-FFF2-40B4-BE49-F238E27FC236}">
                <a16:creationId xmlns:a16="http://schemas.microsoft.com/office/drawing/2014/main" id="{180AB9AB-32DC-485A-909A-21771605341B}"/>
              </a:ext>
            </a:extLst>
          </p:cNvPr>
          <p:cNvSpPr>
            <a:spLocks/>
          </p:cNvSpPr>
          <p:nvPr/>
        </p:nvSpPr>
        <p:spPr>
          <a:xfrm>
            <a:off x="396770" y="2501042"/>
            <a:ext cx="1721495" cy="1888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lvl="0" indent="0" fontAlgn="base">
              <a:spcBef>
                <a:spcPts val="600"/>
              </a:spcBef>
              <a:buNone/>
              <a:defRPr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y Point</a:t>
            </a:r>
          </a:p>
          <a:p>
            <a:pPr marL="182880" lvl="0" indent="-182880" fontAlgn="base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ey found you via a webinar, they might be interested in deep, educational content. </a:t>
            </a:r>
          </a:p>
          <a:p>
            <a:pPr marL="182880" lvl="0" indent="-182880" fontAlgn="base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ey entered through a blog post, they might enjoy more of your thought leadership pieces. </a:t>
            </a:r>
          </a:p>
        </p:txBody>
      </p:sp>
      <p:sp>
        <p:nvSpPr>
          <p:cNvPr id="51" name="Rounded Rectangle 69">
            <a:extLst>
              <a:ext uri="{FF2B5EF4-FFF2-40B4-BE49-F238E27FC236}">
                <a16:creationId xmlns:a16="http://schemas.microsoft.com/office/drawing/2014/main" id="{27983C25-641C-433F-B4AE-F761E0E8B07D}"/>
              </a:ext>
            </a:extLst>
          </p:cNvPr>
          <p:cNvSpPr>
            <a:spLocks/>
          </p:cNvSpPr>
          <p:nvPr/>
        </p:nvSpPr>
        <p:spPr>
          <a:xfrm>
            <a:off x="2317768" y="2501042"/>
            <a:ext cx="1721495" cy="1888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lvl="0" indent="0" fontAlgn="base">
              <a:spcBef>
                <a:spcPts val="600"/>
              </a:spcBef>
              <a:buNone/>
              <a:defRPr/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ographics</a:t>
            </a:r>
          </a:p>
          <a:p>
            <a:pPr marL="182880" lvl="0" indent="-182880" fontAlgn="base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your email about an event in a certain area? Try targeting based on Country and/or City of the even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4" name="Rounded Rectangle 69">
            <a:extLst>
              <a:ext uri="{FF2B5EF4-FFF2-40B4-BE49-F238E27FC236}">
                <a16:creationId xmlns:a16="http://schemas.microsoft.com/office/drawing/2014/main" id="{DFB7563C-A230-4359-B3A3-B59EC1B5550F}"/>
              </a:ext>
            </a:extLst>
          </p:cNvPr>
          <p:cNvSpPr>
            <a:spLocks/>
          </p:cNvSpPr>
          <p:nvPr/>
        </p:nvSpPr>
        <p:spPr>
          <a:xfrm>
            <a:off x="4238107" y="2501042"/>
            <a:ext cx="1721495" cy="1888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lvl="0" indent="0" fontAlgn="base">
              <a:spcBef>
                <a:spcPts val="600"/>
              </a:spcBef>
              <a:buNone/>
              <a:defRPr/>
            </a:pPr>
            <a:r>
              <a:rPr lang="en-US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avioral</a:t>
            </a:r>
          </a:p>
          <a:p>
            <a:pPr marL="182880" lvl="0" indent="-182880" fontAlgn="base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individuals visiting certain IQVIA.com pages</a:t>
            </a:r>
          </a:p>
          <a:p>
            <a:pPr marL="182880" lvl="0" indent="-182880" fontAlgn="base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emails so people attending certain webinars or registering for certain event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" name="Rounded Rectangle 69">
            <a:extLst>
              <a:ext uri="{FF2B5EF4-FFF2-40B4-BE49-F238E27FC236}">
                <a16:creationId xmlns:a16="http://schemas.microsoft.com/office/drawing/2014/main" id="{C2E5D1BF-4882-4782-AA12-898CAC265866}"/>
              </a:ext>
            </a:extLst>
          </p:cNvPr>
          <p:cNvSpPr>
            <a:spLocks/>
          </p:cNvSpPr>
          <p:nvPr/>
        </p:nvSpPr>
        <p:spPr>
          <a:xfrm>
            <a:off x="6158446" y="2501042"/>
            <a:ext cx="1721495" cy="1888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lvl="0" indent="0" fontAlgn="base">
              <a:spcBef>
                <a:spcPts val="600"/>
              </a:spcBef>
              <a:buNone/>
              <a:defRPr/>
            </a:pPr>
            <a:r>
              <a:rPr lang="en-US" sz="16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QVIA Segmentation</a:t>
            </a:r>
          </a:p>
          <a:p>
            <a:pPr marL="182880" lvl="0" indent="-182880" fontAlgn="base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there certain industries or types of companies you are needing to target? Consider using this field to narrow down the industry/categor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6" name="Rounded Rectangle 69">
            <a:extLst>
              <a:ext uri="{FF2B5EF4-FFF2-40B4-BE49-F238E27FC236}">
                <a16:creationId xmlns:a16="http://schemas.microsoft.com/office/drawing/2014/main" id="{30A3C3D7-0FCA-4861-88E8-06DDB7BE2BA7}"/>
              </a:ext>
            </a:extLst>
          </p:cNvPr>
          <p:cNvSpPr>
            <a:spLocks/>
          </p:cNvSpPr>
          <p:nvPr/>
        </p:nvSpPr>
        <p:spPr>
          <a:xfrm>
            <a:off x="8078785" y="2501042"/>
            <a:ext cx="1721495" cy="1888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lvl="0" indent="0" fontAlgn="base">
              <a:spcBef>
                <a:spcPts val="600"/>
              </a:spcBef>
              <a:buNone/>
              <a:defRPr/>
            </a:pPr>
            <a:r>
              <a:rPr lang="en-US" sz="16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ped Functional Area</a:t>
            </a:r>
          </a:p>
          <a:p>
            <a:pPr marL="182880" lvl="0" indent="-182880" fontAlgn="base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ment by job function or department of the contac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ounded Rectangle 69">
            <a:extLst>
              <a:ext uri="{FF2B5EF4-FFF2-40B4-BE49-F238E27FC236}">
                <a16:creationId xmlns:a16="http://schemas.microsoft.com/office/drawing/2014/main" id="{2C3EC64B-C5A8-4A34-B53F-126BEA0907CD}"/>
              </a:ext>
            </a:extLst>
          </p:cNvPr>
          <p:cNvSpPr>
            <a:spLocks/>
          </p:cNvSpPr>
          <p:nvPr/>
        </p:nvSpPr>
        <p:spPr>
          <a:xfrm>
            <a:off x="9999124" y="2501042"/>
            <a:ext cx="1721495" cy="1888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lvl="0" indent="0" fontAlgn="base">
              <a:spcBef>
                <a:spcPts val="600"/>
              </a:spcBef>
              <a:buNone/>
              <a:defRPr/>
            </a:pPr>
            <a:r>
              <a:rPr lang="en-US" sz="1600" b="1" dirty="0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ped Job Level</a:t>
            </a:r>
          </a:p>
          <a:p>
            <a:pPr marL="182880" lvl="0" indent="-182880" fontAlgn="base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es your segment only need to cover decision makers at a certain level? Use this field to drill down on specific job levels of contacts in the database</a:t>
            </a:r>
          </a:p>
        </p:txBody>
      </p:sp>
    </p:spTree>
    <p:extLst>
      <p:ext uri="{BB962C8B-B14F-4D97-AF65-F5344CB8AC3E}">
        <p14:creationId xmlns:p14="http://schemas.microsoft.com/office/powerpoint/2010/main" val="4288264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/>
          <p:cNvCxnSpPr>
            <a:cxnSpLocks/>
          </p:cNvCxnSpPr>
          <p:nvPr/>
        </p:nvCxnSpPr>
        <p:spPr>
          <a:xfrm>
            <a:off x="10602876" y="2807855"/>
            <a:ext cx="0" cy="59048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A37AF49B-C76E-CC49-7DB1-4D2E5760B5F7}"/>
              </a:ext>
            </a:extLst>
          </p:cNvPr>
          <p:cNvSpPr/>
          <p:nvPr/>
        </p:nvSpPr>
        <p:spPr>
          <a:xfrm>
            <a:off x="11527656" y="6316402"/>
            <a:ext cx="708734" cy="4457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4694" y="294468"/>
            <a:ext cx="11404852" cy="768263"/>
          </a:xfrm>
        </p:spPr>
        <p:txBody>
          <a:bodyPr/>
          <a:lstStyle/>
          <a:p>
            <a:r>
              <a:rPr lang="en-US" dirty="0"/>
              <a:t>Contact journey: from database entry to segmentation</a:t>
            </a:r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4850970"/>
              </p:ext>
            </p:extLst>
          </p:nvPr>
        </p:nvGraphicFramePr>
        <p:xfrm>
          <a:off x="68262" y="1626624"/>
          <a:ext cx="12112625" cy="1398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8" name="Straight Connector 17"/>
          <p:cNvCxnSpPr/>
          <p:nvPr/>
        </p:nvCxnSpPr>
        <p:spPr>
          <a:xfrm>
            <a:off x="1724025" y="2981325"/>
            <a:ext cx="0" cy="559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1099" y="3112900"/>
            <a:ext cx="1162050" cy="1266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9" name="Straight Connector 18"/>
          <p:cNvCxnSpPr/>
          <p:nvPr/>
        </p:nvCxnSpPr>
        <p:spPr>
          <a:xfrm>
            <a:off x="4455045" y="2981325"/>
            <a:ext cx="0" cy="559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7274445" y="2981325"/>
            <a:ext cx="0" cy="55912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9"/>
          <a:srcRect r="61107"/>
          <a:stretch/>
        </p:blipFill>
        <p:spPr>
          <a:xfrm>
            <a:off x="6819940" y="3148050"/>
            <a:ext cx="1066760" cy="10473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21" name="Straight Connector 20"/>
          <p:cNvCxnSpPr/>
          <p:nvPr/>
        </p:nvCxnSpPr>
        <p:spPr>
          <a:xfrm>
            <a:off x="7479114" y="4195373"/>
            <a:ext cx="0" cy="78916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23" name="Group 22"/>
          <p:cNvGrpSpPr/>
          <p:nvPr/>
        </p:nvGrpSpPr>
        <p:grpSpPr>
          <a:xfrm>
            <a:off x="10013895" y="3373575"/>
            <a:ext cx="1000600" cy="844983"/>
            <a:chOff x="-4097338" y="1031875"/>
            <a:chExt cx="4368801" cy="3689351"/>
          </a:xfrm>
          <a:solidFill>
            <a:schemeClr val="accent1"/>
          </a:solidFill>
        </p:grpSpPr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-4097338" y="1471613"/>
              <a:ext cx="3248026" cy="3249613"/>
            </a:xfrm>
            <a:custGeom>
              <a:avLst/>
              <a:gdLst>
                <a:gd name="T0" fmla="*/ 1933 w 2046"/>
                <a:gd name="T1" fmla="*/ 1933 h 2047"/>
                <a:gd name="T2" fmla="*/ 114 w 2046"/>
                <a:gd name="T3" fmla="*/ 1933 h 2047"/>
                <a:gd name="T4" fmla="*/ 114 w 2046"/>
                <a:gd name="T5" fmla="*/ 114 h 2047"/>
                <a:gd name="T6" fmla="*/ 403 w 2046"/>
                <a:gd name="T7" fmla="*/ 114 h 2047"/>
                <a:gd name="T8" fmla="*/ 403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583 h 2047"/>
                <a:gd name="T18" fmla="*/ 1933 w 2046"/>
                <a:gd name="T19" fmla="*/ 1583 h 2047"/>
                <a:gd name="T20" fmla="*/ 1933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3" y="1933"/>
                  </a:moveTo>
                  <a:lnTo>
                    <a:pt x="114" y="1933"/>
                  </a:lnTo>
                  <a:lnTo>
                    <a:pt x="114" y="114"/>
                  </a:lnTo>
                  <a:lnTo>
                    <a:pt x="403" y="114"/>
                  </a:lnTo>
                  <a:lnTo>
                    <a:pt x="403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583"/>
                  </a:lnTo>
                  <a:lnTo>
                    <a:pt x="1933" y="1583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-3624263" y="1031875"/>
              <a:ext cx="3895726" cy="2900363"/>
            </a:xfrm>
            <a:custGeom>
              <a:avLst/>
              <a:gdLst>
                <a:gd name="T0" fmla="*/ 852 w 1036"/>
                <a:gd name="T1" fmla="*/ 336 h 771"/>
                <a:gd name="T2" fmla="*/ 834 w 1036"/>
                <a:gd name="T3" fmla="*/ 286 h 771"/>
                <a:gd name="T4" fmla="*/ 804 w 1036"/>
                <a:gd name="T5" fmla="*/ 71 h 771"/>
                <a:gd name="T6" fmla="*/ 679 w 1036"/>
                <a:gd name="T7" fmla="*/ 8 h 771"/>
                <a:gd name="T8" fmla="*/ 363 w 1036"/>
                <a:gd name="T9" fmla="*/ 0 h 771"/>
                <a:gd name="T10" fmla="*/ 250 w 1036"/>
                <a:gd name="T11" fmla="*/ 67 h 771"/>
                <a:gd name="T12" fmla="*/ 232 w 1036"/>
                <a:gd name="T13" fmla="*/ 278 h 771"/>
                <a:gd name="T14" fmla="*/ 183 w 1036"/>
                <a:gd name="T15" fmla="*/ 291 h 771"/>
                <a:gd name="T16" fmla="*/ 0 w 1036"/>
                <a:gd name="T17" fmla="*/ 336 h 771"/>
                <a:gd name="T18" fmla="*/ 0 w 1036"/>
                <a:gd name="T19" fmla="*/ 517 h 771"/>
                <a:gd name="T20" fmla="*/ 506 w 1036"/>
                <a:gd name="T21" fmla="*/ 765 h 771"/>
                <a:gd name="T22" fmla="*/ 529 w 1036"/>
                <a:gd name="T23" fmla="*/ 765 h 771"/>
                <a:gd name="T24" fmla="*/ 1036 w 1036"/>
                <a:gd name="T25" fmla="*/ 517 h 771"/>
                <a:gd name="T26" fmla="*/ 1036 w 1036"/>
                <a:gd name="T27" fmla="*/ 336 h 771"/>
                <a:gd name="T28" fmla="*/ 149 w 1036"/>
                <a:gd name="T29" fmla="*/ 426 h 771"/>
                <a:gd name="T30" fmla="*/ 183 w 1036"/>
                <a:gd name="T31" fmla="*/ 384 h 771"/>
                <a:gd name="T32" fmla="*/ 110 w 1036"/>
                <a:gd name="T33" fmla="*/ 469 h 771"/>
                <a:gd name="T34" fmla="*/ 650 w 1036"/>
                <a:gd name="T35" fmla="*/ 48 h 771"/>
                <a:gd name="T36" fmla="*/ 756 w 1036"/>
                <a:gd name="T37" fmla="*/ 268 h 771"/>
                <a:gd name="T38" fmla="*/ 280 w 1036"/>
                <a:gd name="T39" fmla="*/ 268 h 771"/>
                <a:gd name="T40" fmla="*/ 385 w 1036"/>
                <a:gd name="T41" fmla="*/ 48 h 771"/>
                <a:gd name="T42" fmla="*/ 518 w 1036"/>
                <a:gd name="T43" fmla="*/ 716 h 771"/>
                <a:gd name="T44" fmla="*/ 303 w 1036"/>
                <a:gd name="T45" fmla="*/ 517 h 771"/>
                <a:gd name="T46" fmla="*/ 329 w 1036"/>
                <a:gd name="T47" fmla="*/ 488 h 771"/>
                <a:gd name="T48" fmla="*/ 707 w 1036"/>
                <a:gd name="T49" fmla="*/ 487 h 771"/>
                <a:gd name="T50" fmla="*/ 732 w 1036"/>
                <a:gd name="T51" fmla="*/ 517 h 771"/>
                <a:gd name="T52" fmla="*/ 804 w 1036"/>
                <a:gd name="T53" fmla="*/ 456 h 771"/>
                <a:gd name="T54" fmla="*/ 231 w 1036"/>
                <a:gd name="T55" fmla="*/ 456 h 771"/>
                <a:gd name="T56" fmla="*/ 519 w 1036"/>
                <a:gd name="T57" fmla="*/ 294 h 771"/>
                <a:gd name="T58" fmla="*/ 804 w 1036"/>
                <a:gd name="T59" fmla="*/ 456 h 771"/>
                <a:gd name="T60" fmla="*/ 852 w 1036"/>
                <a:gd name="T61" fmla="*/ 469 h 771"/>
                <a:gd name="T62" fmla="*/ 926 w 1036"/>
                <a:gd name="T63" fmla="*/ 384 h 771"/>
                <a:gd name="T64" fmla="*/ 926 w 1036"/>
                <a:gd name="T65" fmla="*/ 469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36" h="771">
                  <a:moveTo>
                    <a:pt x="1036" y="336"/>
                  </a:moveTo>
                  <a:cubicBezTo>
                    <a:pt x="852" y="336"/>
                    <a:pt x="852" y="336"/>
                    <a:pt x="852" y="336"/>
                  </a:cubicBezTo>
                  <a:cubicBezTo>
                    <a:pt x="852" y="291"/>
                    <a:pt x="852" y="291"/>
                    <a:pt x="852" y="291"/>
                  </a:cubicBezTo>
                  <a:cubicBezTo>
                    <a:pt x="834" y="286"/>
                    <a:pt x="834" y="286"/>
                    <a:pt x="834" y="286"/>
                  </a:cubicBezTo>
                  <a:cubicBezTo>
                    <a:pt x="833" y="285"/>
                    <a:pt x="822" y="282"/>
                    <a:pt x="804" y="278"/>
                  </a:cubicBezTo>
                  <a:cubicBezTo>
                    <a:pt x="804" y="71"/>
                    <a:pt x="804" y="71"/>
                    <a:pt x="804" y="71"/>
                  </a:cubicBezTo>
                  <a:cubicBezTo>
                    <a:pt x="786" y="67"/>
                    <a:pt x="786" y="67"/>
                    <a:pt x="786" y="67"/>
                  </a:cubicBezTo>
                  <a:cubicBezTo>
                    <a:pt x="739" y="55"/>
                    <a:pt x="700" y="34"/>
                    <a:pt x="679" y="8"/>
                  </a:cubicBezTo>
                  <a:cubicBezTo>
                    <a:pt x="672" y="0"/>
                    <a:pt x="672" y="0"/>
                    <a:pt x="672" y="0"/>
                  </a:cubicBezTo>
                  <a:cubicBezTo>
                    <a:pt x="363" y="0"/>
                    <a:pt x="363" y="0"/>
                    <a:pt x="363" y="0"/>
                  </a:cubicBezTo>
                  <a:cubicBezTo>
                    <a:pt x="356" y="8"/>
                    <a:pt x="356" y="8"/>
                    <a:pt x="356" y="8"/>
                  </a:cubicBezTo>
                  <a:cubicBezTo>
                    <a:pt x="335" y="34"/>
                    <a:pt x="296" y="55"/>
                    <a:pt x="250" y="67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2" y="278"/>
                    <a:pt x="232" y="278"/>
                    <a:pt x="232" y="278"/>
                  </a:cubicBezTo>
                  <a:cubicBezTo>
                    <a:pt x="213" y="282"/>
                    <a:pt x="202" y="285"/>
                    <a:pt x="201" y="286"/>
                  </a:cubicBezTo>
                  <a:cubicBezTo>
                    <a:pt x="183" y="291"/>
                    <a:pt x="183" y="291"/>
                    <a:pt x="183" y="291"/>
                  </a:cubicBezTo>
                  <a:cubicBezTo>
                    <a:pt x="183" y="336"/>
                    <a:pt x="183" y="336"/>
                    <a:pt x="183" y="336"/>
                  </a:cubicBezTo>
                  <a:cubicBezTo>
                    <a:pt x="0" y="336"/>
                    <a:pt x="0" y="336"/>
                    <a:pt x="0" y="336"/>
                  </a:cubicBezTo>
                  <a:cubicBezTo>
                    <a:pt x="84" y="426"/>
                    <a:pt x="84" y="426"/>
                    <a:pt x="84" y="426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250" y="517"/>
                    <a:pt x="250" y="517"/>
                    <a:pt x="250" y="517"/>
                  </a:cubicBezTo>
                  <a:cubicBezTo>
                    <a:pt x="310" y="659"/>
                    <a:pt x="497" y="760"/>
                    <a:pt x="506" y="765"/>
                  </a:cubicBezTo>
                  <a:cubicBezTo>
                    <a:pt x="518" y="771"/>
                    <a:pt x="518" y="771"/>
                    <a:pt x="518" y="771"/>
                  </a:cubicBezTo>
                  <a:cubicBezTo>
                    <a:pt x="529" y="765"/>
                    <a:pt x="529" y="765"/>
                    <a:pt x="529" y="765"/>
                  </a:cubicBezTo>
                  <a:cubicBezTo>
                    <a:pt x="538" y="760"/>
                    <a:pt x="726" y="659"/>
                    <a:pt x="786" y="517"/>
                  </a:cubicBezTo>
                  <a:cubicBezTo>
                    <a:pt x="1036" y="517"/>
                    <a:pt x="1036" y="517"/>
                    <a:pt x="1036" y="517"/>
                  </a:cubicBezTo>
                  <a:cubicBezTo>
                    <a:pt x="951" y="426"/>
                    <a:pt x="951" y="426"/>
                    <a:pt x="951" y="426"/>
                  </a:cubicBezTo>
                  <a:lnTo>
                    <a:pt x="1036" y="336"/>
                  </a:lnTo>
                  <a:close/>
                  <a:moveTo>
                    <a:pt x="110" y="469"/>
                  </a:moveTo>
                  <a:cubicBezTo>
                    <a:pt x="149" y="426"/>
                    <a:pt x="149" y="426"/>
                    <a:pt x="149" y="426"/>
                  </a:cubicBezTo>
                  <a:cubicBezTo>
                    <a:pt x="110" y="384"/>
                    <a:pt x="110" y="384"/>
                    <a:pt x="110" y="384"/>
                  </a:cubicBezTo>
                  <a:cubicBezTo>
                    <a:pt x="183" y="384"/>
                    <a:pt x="183" y="384"/>
                    <a:pt x="183" y="384"/>
                  </a:cubicBezTo>
                  <a:cubicBezTo>
                    <a:pt x="183" y="469"/>
                    <a:pt x="183" y="469"/>
                    <a:pt x="183" y="469"/>
                  </a:cubicBezTo>
                  <a:lnTo>
                    <a:pt x="110" y="469"/>
                  </a:lnTo>
                  <a:close/>
                  <a:moveTo>
                    <a:pt x="385" y="48"/>
                  </a:moveTo>
                  <a:cubicBezTo>
                    <a:pt x="650" y="48"/>
                    <a:pt x="650" y="48"/>
                    <a:pt x="650" y="48"/>
                  </a:cubicBezTo>
                  <a:cubicBezTo>
                    <a:pt x="675" y="74"/>
                    <a:pt x="712" y="95"/>
                    <a:pt x="756" y="108"/>
                  </a:cubicBezTo>
                  <a:cubicBezTo>
                    <a:pt x="756" y="268"/>
                    <a:pt x="756" y="268"/>
                    <a:pt x="756" y="268"/>
                  </a:cubicBezTo>
                  <a:cubicBezTo>
                    <a:pt x="697" y="258"/>
                    <a:pt x="612" y="246"/>
                    <a:pt x="519" y="246"/>
                  </a:cubicBezTo>
                  <a:cubicBezTo>
                    <a:pt x="423" y="246"/>
                    <a:pt x="338" y="258"/>
                    <a:pt x="280" y="268"/>
                  </a:cubicBezTo>
                  <a:cubicBezTo>
                    <a:pt x="279" y="108"/>
                    <a:pt x="279" y="108"/>
                    <a:pt x="279" y="108"/>
                  </a:cubicBezTo>
                  <a:cubicBezTo>
                    <a:pt x="324" y="95"/>
                    <a:pt x="360" y="74"/>
                    <a:pt x="385" y="48"/>
                  </a:cubicBezTo>
                  <a:close/>
                  <a:moveTo>
                    <a:pt x="629" y="638"/>
                  </a:moveTo>
                  <a:cubicBezTo>
                    <a:pt x="583" y="676"/>
                    <a:pt x="538" y="704"/>
                    <a:pt x="518" y="716"/>
                  </a:cubicBezTo>
                  <a:cubicBezTo>
                    <a:pt x="497" y="704"/>
                    <a:pt x="452" y="677"/>
                    <a:pt x="407" y="638"/>
                  </a:cubicBezTo>
                  <a:cubicBezTo>
                    <a:pt x="370" y="607"/>
                    <a:pt x="328" y="565"/>
                    <a:pt x="303" y="517"/>
                  </a:cubicBezTo>
                  <a:cubicBezTo>
                    <a:pt x="329" y="517"/>
                    <a:pt x="329" y="517"/>
                    <a:pt x="329" y="517"/>
                  </a:cubicBezTo>
                  <a:cubicBezTo>
                    <a:pt x="329" y="488"/>
                    <a:pt x="329" y="488"/>
                    <a:pt x="329" y="488"/>
                  </a:cubicBezTo>
                  <a:cubicBezTo>
                    <a:pt x="386" y="479"/>
                    <a:pt x="455" y="471"/>
                    <a:pt x="518" y="471"/>
                  </a:cubicBezTo>
                  <a:cubicBezTo>
                    <a:pt x="584" y="471"/>
                    <a:pt x="652" y="478"/>
                    <a:pt x="707" y="487"/>
                  </a:cubicBezTo>
                  <a:cubicBezTo>
                    <a:pt x="707" y="517"/>
                    <a:pt x="707" y="517"/>
                    <a:pt x="707" y="517"/>
                  </a:cubicBezTo>
                  <a:cubicBezTo>
                    <a:pt x="732" y="517"/>
                    <a:pt x="732" y="517"/>
                    <a:pt x="732" y="517"/>
                  </a:cubicBezTo>
                  <a:cubicBezTo>
                    <a:pt x="707" y="565"/>
                    <a:pt x="665" y="607"/>
                    <a:pt x="629" y="638"/>
                  </a:cubicBezTo>
                  <a:close/>
                  <a:moveTo>
                    <a:pt x="804" y="456"/>
                  </a:moveTo>
                  <a:cubicBezTo>
                    <a:pt x="750" y="444"/>
                    <a:pt x="632" y="423"/>
                    <a:pt x="518" y="423"/>
                  </a:cubicBezTo>
                  <a:cubicBezTo>
                    <a:pt x="411" y="423"/>
                    <a:pt x="287" y="445"/>
                    <a:pt x="231" y="456"/>
                  </a:cubicBezTo>
                  <a:cubicBezTo>
                    <a:pt x="231" y="328"/>
                    <a:pt x="231" y="328"/>
                    <a:pt x="231" y="328"/>
                  </a:cubicBezTo>
                  <a:cubicBezTo>
                    <a:pt x="273" y="318"/>
                    <a:pt x="387" y="294"/>
                    <a:pt x="519" y="294"/>
                  </a:cubicBezTo>
                  <a:cubicBezTo>
                    <a:pt x="647" y="294"/>
                    <a:pt x="761" y="318"/>
                    <a:pt x="804" y="328"/>
                  </a:cubicBezTo>
                  <a:lnTo>
                    <a:pt x="804" y="456"/>
                  </a:lnTo>
                  <a:close/>
                  <a:moveTo>
                    <a:pt x="926" y="469"/>
                  </a:moveTo>
                  <a:cubicBezTo>
                    <a:pt x="852" y="469"/>
                    <a:pt x="852" y="469"/>
                    <a:pt x="852" y="469"/>
                  </a:cubicBezTo>
                  <a:cubicBezTo>
                    <a:pt x="852" y="384"/>
                    <a:pt x="852" y="384"/>
                    <a:pt x="852" y="384"/>
                  </a:cubicBezTo>
                  <a:cubicBezTo>
                    <a:pt x="926" y="384"/>
                    <a:pt x="926" y="384"/>
                    <a:pt x="926" y="384"/>
                  </a:cubicBezTo>
                  <a:cubicBezTo>
                    <a:pt x="886" y="426"/>
                    <a:pt x="886" y="426"/>
                    <a:pt x="886" y="426"/>
                  </a:cubicBezTo>
                  <a:lnTo>
                    <a:pt x="926" y="4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24FC0256-BEE9-4BE4-B7AA-3AC27FABA0A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46934" y="3085891"/>
            <a:ext cx="1416222" cy="136529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77775BD-D2FC-46DB-958F-7401ED70E0F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8353" y="4834871"/>
            <a:ext cx="11812441" cy="114321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97988348-15FB-492A-911B-932EC31CD32D}"/>
              </a:ext>
            </a:extLst>
          </p:cNvPr>
          <p:cNvSpPr/>
          <p:nvPr/>
        </p:nvSpPr>
        <p:spPr>
          <a:xfrm>
            <a:off x="2476635" y="4789502"/>
            <a:ext cx="1416222" cy="153858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C2B5B1-50DD-9475-2915-C28924FBA705}"/>
              </a:ext>
            </a:extLst>
          </p:cNvPr>
          <p:cNvSpPr/>
          <p:nvPr/>
        </p:nvSpPr>
        <p:spPr>
          <a:xfrm>
            <a:off x="2840854" y="5368473"/>
            <a:ext cx="479395" cy="398465"/>
          </a:xfrm>
          <a:prstGeom prst="rect">
            <a:avLst/>
          </a:prstGeom>
          <a:solidFill>
            <a:srgbClr val="F8CB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700" dirty="0">
                <a:solidFill>
                  <a:schemeClr val="tx1"/>
                </a:solidFill>
              </a:rPr>
              <a:t>VP, Market Acces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E79BB9-78D3-5516-3C13-4E071F3CA20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990751" y="6289932"/>
            <a:ext cx="2047487" cy="53393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152BB06-3EB8-0183-6E7A-0B05D4F7D1A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385735" y="3214281"/>
            <a:ext cx="2231512" cy="136529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DB6DECC-42A3-FF7E-599F-ADA8E770DD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egmentation based on title criteria examp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E0E4ACF-6A53-8C8E-1E3B-65CC42891EC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95270" y="3181920"/>
            <a:ext cx="1854410" cy="134698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311500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hlinkClick r:id="rId2"/>
            <a:extLst>
              <a:ext uri="{FF2B5EF4-FFF2-40B4-BE49-F238E27FC236}">
                <a16:creationId xmlns:a16="http://schemas.microsoft.com/office/drawing/2014/main" id="{3B19915A-9AF2-9D58-723D-8C4F874420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1590" y="0"/>
            <a:ext cx="49888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846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F0CD63-7E45-3253-A3AA-1E62E95CF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Segment Exclus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CBC89-9E7E-4A82-5766-224A1CAE37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6A6991-A82E-70D0-149E-2D4C5882189F}"/>
              </a:ext>
            </a:extLst>
          </p:cNvPr>
          <p:cNvSpPr txBox="1"/>
          <p:nvPr/>
        </p:nvSpPr>
        <p:spPr>
          <a:xfrm>
            <a:off x="384694" y="1273991"/>
            <a:ext cx="1115598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0" dirty="0">
                <a:effectLst/>
                <a:latin typeface="Roboto" panose="02000000000000000000" pitchFamily="2" charset="0"/>
              </a:rPr>
              <a:t>-</a:t>
            </a:r>
            <a:r>
              <a:rPr lang="en-US" sz="1600" b="1" i="0" dirty="0">
                <a:effectLst/>
                <a:latin typeface="Roboto" panose="02000000000000000000" pitchFamily="2" charset="0"/>
              </a:rPr>
              <a:t>  Privacy Analytics - </a:t>
            </a:r>
            <a:r>
              <a:rPr lang="en-US" sz="1600" b="0" i="1" dirty="0">
                <a:effectLst/>
                <a:latin typeface="Roboto" panose="02000000000000000000" pitchFamily="2" charset="0"/>
              </a:rPr>
              <a:t>lead source detail contains </a:t>
            </a:r>
            <a:r>
              <a:rPr lang="en-US" sz="1600" b="0" i="1" dirty="0" err="1">
                <a:effectLst/>
                <a:latin typeface="Roboto" panose="02000000000000000000" pitchFamily="2" charset="0"/>
              </a:rPr>
              <a:t>privay_analytics</a:t>
            </a:r>
            <a:r>
              <a:rPr lang="en-US" sz="1600" b="0" i="1" dirty="0">
                <a:effectLst/>
                <a:latin typeface="Roboto" panose="02000000000000000000" pitchFamily="2" charset="0"/>
              </a:rPr>
              <a:t> or PACT or PA Gated or PA Med or PA Sales or Privacy Analytics or </a:t>
            </a:r>
            <a:r>
              <a:rPr lang="en-US" sz="1600" b="0" i="1" dirty="0" err="1">
                <a:effectLst/>
                <a:latin typeface="Roboto" panose="02000000000000000000" pitchFamily="2" charset="0"/>
              </a:rPr>
              <a:t>GBU_RWA_GMa</a:t>
            </a:r>
            <a:r>
              <a:rPr lang="en-US" sz="1600" b="0" i="1" dirty="0">
                <a:effectLst/>
                <a:latin typeface="Roboto" panose="02000000000000000000" pitchFamily="2" charset="0"/>
              </a:rPr>
              <a:t> or </a:t>
            </a:r>
            <a:r>
              <a:rPr lang="en-US" sz="1600" b="0" i="1" dirty="0" err="1">
                <a:effectLst/>
                <a:latin typeface="Roboto" panose="02000000000000000000" pitchFamily="2" charset="0"/>
              </a:rPr>
              <a:t>GBU_RWA_ZMor</a:t>
            </a:r>
            <a:r>
              <a:rPr lang="en-US" sz="1600" b="0" i="1" dirty="0">
                <a:effectLst/>
                <a:latin typeface="Roboto" panose="02000000000000000000" pitchFamily="2" charset="0"/>
              </a:rPr>
              <a:t> GBU_RWA_EC or </a:t>
            </a:r>
            <a:r>
              <a:rPr lang="en-US" sz="1600" b="0" i="1" dirty="0" err="1">
                <a:effectLst/>
                <a:latin typeface="Roboto" panose="02000000000000000000" pitchFamily="2" charset="0"/>
              </a:rPr>
              <a:t>PrivAn</a:t>
            </a:r>
            <a:endParaRPr lang="en-US" sz="1600" b="0" i="0" dirty="0">
              <a:effectLst/>
              <a:latin typeface="Roboto" panose="02000000000000000000" pitchFamily="2" charset="0"/>
            </a:endParaRPr>
          </a:p>
          <a:p>
            <a:pPr algn="l"/>
            <a:br>
              <a:rPr lang="en-US" sz="1600" b="1" i="0" dirty="0">
                <a:effectLst/>
                <a:latin typeface="Roboto" panose="02000000000000000000" pitchFamily="2" charset="0"/>
              </a:rPr>
            </a:br>
            <a:endParaRPr lang="en-US" sz="1600" b="0" i="0" dirty="0">
              <a:effectLst/>
              <a:latin typeface="Roboto" panose="02000000000000000000" pitchFamily="2" charset="0"/>
            </a:endParaRPr>
          </a:p>
          <a:p>
            <a:pPr algn="l"/>
            <a:r>
              <a:rPr lang="en-US" sz="1600" b="0" i="0" dirty="0">
                <a:effectLst/>
                <a:latin typeface="Roboto" panose="02000000000000000000" pitchFamily="2" charset="0"/>
              </a:rPr>
              <a:t>-  </a:t>
            </a:r>
            <a:r>
              <a:rPr lang="en-US" sz="1600" b="1" i="0" dirty="0">
                <a:effectLst/>
                <a:latin typeface="Roboto" panose="02000000000000000000" pitchFamily="2" charset="0"/>
              </a:rPr>
              <a:t>Consumer Health - </a:t>
            </a:r>
            <a:r>
              <a:rPr lang="en-US" sz="1600" b="0" i="1" dirty="0">
                <a:effectLst/>
                <a:latin typeface="Roboto" panose="02000000000000000000" pitchFamily="2" charset="0"/>
              </a:rPr>
              <a:t>Consumer Health Contact field having a value that is equal to Yes or Contacts who have a linked record in custom object "Consumer Health Custom Data"</a:t>
            </a:r>
            <a:endParaRPr lang="en-US" sz="1600" b="0" i="0" dirty="0">
              <a:effectLst/>
              <a:latin typeface="Roboto" panose="02000000000000000000" pitchFamily="2" charset="0"/>
            </a:endParaRPr>
          </a:p>
          <a:p>
            <a:pPr algn="l"/>
            <a:br>
              <a:rPr lang="en-US" sz="1600" b="0" i="1" dirty="0">
                <a:effectLst/>
                <a:latin typeface="Roboto" panose="02000000000000000000" pitchFamily="2" charset="0"/>
              </a:rPr>
            </a:br>
            <a:endParaRPr lang="en-US" sz="1600" b="0" i="0" dirty="0">
              <a:effectLst/>
              <a:latin typeface="Roboto" panose="02000000000000000000" pitchFamily="2" charset="0"/>
            </a:endParaRPr>
          </a:p>
          <a:p>
            <a:pPr algn="l"/>
            <a:r>
              <a:rPr lang="en-US" sz="1600" b="0" i="1" dirty="0">
                <a:effectLst/>
                <a:latin typeface="Roboto" panose="02000000000000000000" pitchFamily="2" charset="0"/>
              </a:rPr>
              <a:t>- </a:t>
            </a:r>
            <a:r>
              <a:rPr lang="en-US" sz="1600" b="1" i="0" dirty="0">
                <a:effectLst/>
                <a:latin typeface="Roboto" panose="02000000000000000000" pitchFamily="2" charset="0"/>
              </a:rPr>
              <a:t>Quebec Exclusions</a:t>
            </a:r>
            <a:r>
              <a:rPr lang="en-US" sz="1600" b="0" i="1" dirty="0">
                <a:effectLst/>
                <a:latin typeface="Roboto" panose="02000000000000000000" pitchFamily="2" charset="0"/>
              </a:rPr>
              <a:t> - contacts having address field containing </a:t>
            </a:r>
            <a:r>
              <a:rPr lang="en-US" sz="1600" b="0" i="1" dirty="0" err="1">
                <a:effectLst/>
                <a:latin typeface="Roboto" panose="02000000000000000000" pitchFamily="2" charset="0"/>
              </a:rPr>
              <a:t>montreal</a:t>
            </a:r>
            <a:r>
              <a:rPr lang="en-US" sz="1600" b="0" i="1" dirty="0">
                <a:effectLst/>
                <a:latin typeface="Roboto" panose="02000000000000000000" pitchFamily="2" charset="0"/>
              </a:rPr>
              <a:t> or Quebec, state or province field having </a:t>
            </a:r>
            <a:r>
              <a:rPr lang="en-US" sz="1600" b="0" i="1" dirty="0" err="1">
                <a:effectLst/>
                <a:latin typeface="Roboto" panose="02000000000000000000" pitchFamily="2" charset="0"/>
              </a:rPr>
              <a:t>montreal</a:t>
            </a:r>
            <a:r>
              <a:rPr lang="en-US" sz="1600" b="0" i="1" dirty="0">
                <a:effectLst/>
                <a:latin typeface="Roboto" panose="02000000000000000000" pitchFamily="2" charset="0"/>
              </a:rPr>
              <a:t> or Quebec, city field having the value </a:t>
            </a:r>
            <a:r>
              <a:rPr lang="en-US" sz="1600" b="0" i="1" dirty="0" err="1">
                <a:effectLst/>
                <a:latin typeface="Roboto" panose="02000000000000000000" pitchFamily="2" charset="0"/>
              </a:rPr>
              <a:t>montreal</a:t>
            </a:r>
            <a:r>
              <a:rPr lang="en-US" sz="1600" i="1" dirty="0">
                <a:latin typeface="Roboto" panose="02000000000000000000" pitchFamily="2" charset="0"/>
              </a:rPr>
              <a:t> or Quebec</a:t>
            </a:r>
            <a:endParaRPr lang="en-US" sz="1600" b="0" i="0" dirty="0">
              <a:effectLst/>
              <a:latin typeface="Roboto" panose="02000000000000000000" pitchFamily="2" charset="0"/>
            </a:endParaRPr>
          </a:p>
          <a:p>
            <a:pPr lvl="0" fontAlgn="base">
              <a:spcAft>
                <a:spcPts val="300"/>
              </a:spcAft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509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154C4-9B2F-47C4-969A-AF1838DE71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 types of segments</a:t>
            </a: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18F248ED-A988-4D77-A849-72789EBBB986}"/>
              </a:ext>
            </a:extLst>
          </p:cNvPr>
          <p:cNvSpPr/>
          <p:nvPr/>
        </p:nvSpPr>
        <p:spPr>
          <a:xfrm rot="5400000">
            <a:off x="1491605" y="-179840"/>
            <a:ext cx="1142652" cy="412586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7873559A-8152-46A5-A29E-310DE3FB3354}"/>
              </a:ext>
            </a:extLst>
          </p:cNvPr>
          <p:cNvSpPr/>
          <p:nvPr/>
        </p:nvSpPr>
        <p:spPr>
          <a:xfrm rot="5400000">
            <a:off x="1491605" y="1706395"/>
            <a:ext cx="1142652" cy="412586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676BC973-EE2F-497C-B369-3192FA488EEA}"/>
              </a:ext>
            </a:extLst>
          </p:cNvPr>
          <p:cNvSpPr/>
          <p:nvPr/>
        </p:nvSpPr>
        <p:spPr>
          <a:xfrm rot="5400000">
            <a:off x="1491605" y="3671582"/>
            <a:ext cx="1142652" cy="412586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8DCE52-8DEB-4738-86F4-A0AA49E3A243}"/>
              </a:ext>
            </a:extLst>
          </p:cNvPr>
          <p:cNvSpPr txBox="1"/>
          <p:nvPr/>
        </p:nvSpPr>
        <p:spPr>
          <a:xfrm>
            <a:off x="384694" y="1408637"/>
            <a:ext cx="2575664" cy="94156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Standard Segmen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38E60E-92FF-42E6-88F9-EF2FBAD69A4F}"/>
              </a:ext>
            </a:extLst>
          </p:cNvPr>
          <p:cNvSpPr txBox="1"/>
          <p:nvPr/>
        </p:nvSpPr>
        <p:spPr>
          <a:xfrm>
            <a:off x="384694" y="3300603"/>
            <a:ext cx="2575664" cy="94156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Bullseye Seg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5A856A6-0CD3-46FD-B294-CA77D53A26C0}"/>
              </a:ext>
            </a:extLst>
          </p:cNvPr>
          <p:cNvSpPr txBox="1"/>
          <p:nvPr/>
        </p:nvSpPr>
        <p:spPr>
          <a:xfrm>
            <a:off x="384694" y="5256936"/>
            <a:ext cx="2575664" cy="94156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Persona Seg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D6B2D9-025C-4A67-818C-5B51E67085D9}"/>
              </a:ext>
            </a:extLst>
          </p:cNvPr>
          <p:cNvSpPr txBox="1"/>
          <p:nvPr/>
        </p:nvSpPr>
        <p:spPr bwMode="gray">
          <a:xfrm>
            <a:off x="4370866" y="1403181"/>
            <a:ext cx="7352388" cy="995601"/>
          </a:xfrm>
          <a:prstGeom prst="rect">
            <a:avLst/>
          </a:prstGeom>
          <a:noFill/>
        </p:spPr>
        <p:txBody>
          <a:bodyPr wrap="square" lIns="108000" tIns="46800" rtlCol="0" anchor="ctr"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16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</a:t>
            </a: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B0F0"/>
                </a:solidFill>
              </a:rPr>
              <a:t>Criteria defined by marketer</a:t>
            </a:r>
            <a:endParaRPr lang="en-US" sz="14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time segment or reused segment</a:t>
            </a:r>
            <a:endParaRPr lang="en-US" sz="16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EC7F87-5E60-45F7-BFCE-FF3DE1393D69}"/>
              </a:ext>
            </a:extLst>
          </p:cNvPr>
          <p:cNvSpPr/>
          <p:nvPr/>
        </p:nvSpPr>
        <p:spPr>
          <a:xfrm>
            <a:off x="3037386" y="1385939"/>
            <a:ext cx="1000775" cy="10007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4800" dirty="0">
              <a:solidFill>
                <a:schemeClr val="accent4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960066D-D7DA-4203-A071-C3229CE0C65F}"/>
              </a:ext>
            </a:extLst>
          </p:cNvPr>
          <p:cNvSpPr/>
          <p:nvPr/>
        </p:nvSpPr>
        <p:spPr>
          <a:xfrm>
            <a:off x="3037386" y="3278610"/>
            <a:ext cx="1000775" cy="10007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4800" dirty="0">
              <a:solidFill>
                <a:schemeClr val="accent5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57A3C59-0DE8-4FF4-AFAC-0492DA5F7B19}"/>
              </a:ext>
            </a:extLst>
          </p:cNvPr>
          <p:cNvSpPr/>
          <p:nvPr/>
        </p:nvSpPr>
        <p:spPr>
          <a:xfrm>
            <a:off x="3037386" y="5226210"/>
            <a:ext cx="1000775" cy="10007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4800" dirty="0">
              <a:solidFill>
                <a:schemeClr val="accent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BC58CB-E807-4DED-89F3-26CFA165FE4F}"/>
              </a:ext>
            </a:extLst>
          </p:cNvPr>
          <p:cNvSpPr txBox="1"/>
          <p:nvPr/>
        </p:nvSpPr>
        <p:spPr bwMode="gray">
          <a:xfrm>
            <a:off x="4370866" y="3217877"/>
            <a:ext cx="7352388" cy="995601"/>
          </a:xfrm>
          <a:prstGeom prst="rect">
            <a:avLst/>
          </a:prstGeom>
          <a:noFill/>
        </p:spPr>
        <p:txBody>
          <a:bodyPr wrap="square" lIns="108000" tIns="46800" rtlCol="0" anchor="ctr"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seye</a:t>
            </a: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specific category of customers</a:t>
            </a: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 be reused</a:t>
            </a: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ned to be used &gt; 5 times this year in 5 </a:t>
            </a:r>
            <a:r>
              <a:rPr lang="en-US"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t campaigns</a:t>
            </a:r>
            <a:endParaRPr lang="en-US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ely refines bullseye based off performance</a:t>
            </a: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be templatized</a:t>
            </a: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be added to the coverage report</a:t>
            </a: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be added to intake form drop down</a:t>
            </a: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be added Bullseye Segment Membership field and progra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665B6C2-CEDE-4BBD-B4E9-C6A3025A9B45}"/>
              </a:ext>
            </a:extLst>
          </p:cNvPr>
          <p:cNvSpPr txBox="1"/>
          <p:nvPr/>
        </p:nvSpPr>
        <p:spPr bwMode="gray">
          <a:xfrm>
            <a:off x="4370866" y="5202897"/>
            <a:ext cx="7352388" cy="995601"/>
          </a:xfrm>
          <a:prstGeom prst="rect">
            <a:avLst/>
          </a:prstGeom>
          <a:noFill/>
        </p:spPr>
        <p:txBody>
          <a:bodyPr wrap="square" lIns="108000" tIns="46800" rtlCol="0" anchor="ctr"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</a:t>
            </a: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ed representation of a hypothetical customer that is created using market research, customer data and other sources.</a:t>
            </a: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a name and backstory</a:t>
            </a:r>
          </a:p>
          <a:p>
            <a:pPr marL="285750" lvl="0" indent="-285750" fontAlgn="base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d by Charlie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5FD74B0-7C29-4B52-B50B-0A80A4F8A5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30433" y="5327175"/>
            <a:ext cx="814679" cy="81467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F123E6C3-06CE-4E71-9CEC-392D31F3EA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17732" y="3361988"/>
            <a:ext cx="727380" cy="72738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AE072917-AD51-49FE-B7B4-4A7ED5CBCD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30433" y="1472043"/>
            <a:ext cx="828565" cy="828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22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2.1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FE025FB-4FFF-43C4-B74A-72E2B943AA74}" vid="{A13946E2-50B1-487F-BE47-AE46593BA7DA}"/>
    </a:ext>
  </a:extLst>
</a:theme>
</file>

<file path=ppt/theme/theme2.xml><?xml version="1.0" encoding="utf-8"?>
<a:theme xmlns:a="http://schemas.openxmlformats.org/drawingml/2006/main" name="IQVIA_V2.1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 (002)  -  Read-Only" id="{8E8EC27B-E00E-4229-9251-9A5B6FB6AB61}" vid="{0FC55CC6-C94E-489A-8029-71C0DE3AD8AC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1179F2CDC03045B7E27BFA7E2C1985" ma:contentTypeVersion="32" ma:contentTypeDescription="Create a new document." ma:contentTypeScope="" ma:versionID="145908cce31eda66b4b2e106b3839076">
  <xsd:schema xmlns:xsd="http://www.w3.org/2001/XMLSchema" xmlns:xs="http://www.w3.org/2001/XMLSchema" xmlns:p="http://schemas.microsoft.com/office/2006/metadata/properties" xmlns:ns1="http://schemas.microsoft.com/sharepoint/v3" xmlns:ns2="58efb1c5-837f-45ae-93da-6370a20ee6c7" xmlns:ns3="a60e5538-65d5-40b2-995c-731e9579326c" xmlns:ns4="fbbcf6ee-9fbd-400c-b917-9fe3efcb3dea" targetNamespace="http://schemas.microsoft.com/office/2006/metadata/properties" ma:root="true" ma:fieldsID="242d03adcd2b59c8ef78fa28c2709574" ns1:_="" ns2:_="" ns3:_="" ns4:_="">
    <xsd:import namespace="http://schemas.microsoft.com/sharepoint/v3"/>
    <xsd:import namespace="58efb1c5-837f-45ae-93da-6370a20ee6c7"/>
    <xsd:import namespace="a60e5538-65d5-40b2-995c-731e9579326c"/>
    <xsd:import namespace="fbbcf6ee-9fbd-400c-b917-9fe3efcb3de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2:LastSharedByUser" minOccurs="0"/>
                <xsd:element ref="ns2:LastSharedByTime" minOccurs="0"/>
                <xsd:element ref="ns3:CheckIn_x0020_Workflow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yeak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Doc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fb1c5-837f-45ae-93da-6370a20ee6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0e5538-65d5-40b2-995c-731e9579326c" elementFormDefault="qualified">
    <xsd:import namespace="http://schemas.microsoft.com/office/2006/documentManagement/types"/>
    <xsd:import namespace="http://schemas.microsoft.com/office/infopath/2007/PartnerControls"/>
    <xsd:element name="CheckIn_x0020_Workflow" ma:index="13" nillable="true" ma:displayName="CheckIn Workflow" ma:internalName="CheckIn_x0020_Workflow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yeak" ma:index="17" nillable="true" ma:displayName="Description" ma:internalName="yeak">
      <xsd:simpleType>
        <xsd:restriction base="dms:Text"/>
      </xsd:simpleType>
    </xsd:element>
    <xsd:element name="MediaServiceAutoTags" ma:index="18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9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2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9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ocTags" ma:index="31" nillable="true" ma:displayName="MediaServiceDocTags" ma:hidden="true" ma:internalName="MediaServiceDoc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bcf6ee-9fbd-400c-b917-9fe3efcb3dea" elementFormDefault="qualified">
    <xsd:import namespace="http://schemas.microsoft.com/office/2006/documentManagement/types"/>
    <xsd:import namespace="http://schemas.microsoft.com/office/infopath/2007/PartnerControls"/>
    <xsd:element name="TaxCatchAll" ma:index="30" nillable="true" ma:displayName="Taxonomy Catch All Column" ma:hidden="true" ma:list="{ee3d0cc3-99b5-478e-8db0-6e2a5d0226ab}" ma:internalName="TaxCatchAll" ma:showField="CatchAllData" ma:web="58efb1c5-837f-45ae-93da-6370a20ee6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CheckIn_x0020_Workflow xmlns="a60e5538-65d5-40b2-995c-731e9579326c">
      <Url xsi:nil="true"/>
      <Description xsi:nil="true"/>
    </CheckIn_x0020_Workflow>
    <lcf76f155ced4ddcb4097134ff3c332f xmlns="a60e5538-65d5-40b2-995c-731e9579326c">
      <Terms xmlns="http://schemas.microsoft.com/office/infopath/2007/PartnerControls"/>
    </lcf76f155ced4ddcb4097134ff3c332f>
    <yeak xmlns="a60e5538-65d5-40b2-995c-731e9579326c" xsi:nil="true"/>
    <TaxCatchAll xmlns="fbbcf6ee-9fbd-400c-b917-9fe3efcb3dea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23F6502F-8087-48D7-8FA7-55560A8582F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83C853-0747-4C27-A0FF-99917C20A1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8efb1c5-837f-45ae-93da-6370a20ee6c7"/>
    <ds:schemaRef ds:uri="a60e5538-65d5-40b2-995c-731e9579326c"/>
    <ds:schemaRef ds:uri="fbbcf6ee-9fbd-400c-b917-9fe3efcb3d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2830D6A-C0D7-4B23-9904-F177CB8E89E3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fbbcf6ee-9fbd-400c-b917-9fe3efcb3dea"/>
    <ds:schemaRef ds:uri="a60e5538-65d5-40b2-995c-731e9579326c"/>
    <ds:schemaRef ds:uri="58efb1c5-837f-45ae-93da-6370a20ee6c7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QVIA 2023</Template>
  <TotalTime>392</TotalTime>
  <Words>840</Words>
  <Application>Microsoft Office PowerPoint</Application>
  <PresentationFormat>Widescreen</PresentationFormat>
  <Paragraphs>120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Arial Narrow</vt:lpstr>
      <vt:lpstr>Calibri</vt:lpstr>
      <vt:lpstr>Georgia</vt:lpstr>
      <vt:lpstr>Roboto</vt:lpstr>
      <vt:lpstr>System Font Regular</vt:lpstr>
      <vt:lpstr>Wingdings</vt:lpstr>
      <vt:lpstr>IQVIA_V2.1.0</vt:lpstr>
      <vt:lpstr>IQVIA_V2.1.0</vt:lpstr>
      <vt:lpstr>think-cell Slide</vt:lpstr>
      <vt:lpstr>Marketing Operations</vt:lpstr>
      <vt:lpstr>Agenda</vt:lpstr>
      <vt:lpstr>Marketing Operations Open Office Hours </vt:lpstr>
      <vt:lpstr>The importance of segmentation</vt:lpstr>
      <vt:lpstr>Using customer data to create more targeted and personalized messaging</vt:lpstr>
      <vt:lpstr>Contact journey: from database entry to segmentation</vt:lpstr>
      <vt:lpstr>PowerPoint Presentation</vt:lpstr>
      <vt:lpstr>Recent Segment Exclusions</vt:lpstr>
      <vt:lpstr>3 types of segments</vt:lpstr>
      <vt:lpstr>Michael – Head of Patient Support Services</vt:lpstr>
      <vt:lpstr>Segmentation tools and resources</vt:lpstr>
      <vt:lpstr>View campaigns going out by status, region, bullseye, stakeholder, Organic Social, Website Requests, Paid Campaign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Operations</dc:title>
  <dc:creator>Cuff, Phil</dc:creator>
  <cp:lastModifiedBy>Joseph, Abhijith</cp:lastModifiedBy>
  <cp:revision>16</cp:revision>
  <cp:lastPrinted>2019-08-20T20:33:24Z</cp:lastPrinted>
  <dcterms:created xsi:type="dcterms:W3CDTF">2023-01-12T09:14:58Z</dcterms:created>
  <dcterms:modified xsi:type="dcterms:W3CDTF">2024-10-09T13:4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1179F2CDC03045B7E27BFA7E2C1985</vt:lpwstr>
  </property>
  <property fmtid="{D5CDD505-2E9C-101B-9397-08002B2CF9AE}" pid="3" name="MediaServiceImageTags">
    <vt:lpwstr/>
  </property>
</Properties>
</file>